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60" r:id="rId2"/>
    <p:sldId id="263" r:id="rId3"/>
    <p:sldId id="6653" r:id="rId4"/>
    <p:sldId id="268" r:id="rId5"/>
    <p:sldId id="261" r:id="rId6"/>
    <p:sldId id="2142532656" r:id="rId7"/>
    <p:sldId id="2142532657" r:id="rId8"/>
    <p:sldId id="289" r:id="rId9"/>
  </p:sldIdLst>
  <p:sldSz cx="9144000" cy="5143500" type="screen16x9"/>
  <p:notesSz cx="6797675" cy="9926638"/>
  <p:embeddedFontLst>
    <p:embeddedFont>
      <p:font typeface="Orsted Sans" panose="00000500000000000000" pitchFamily="50" charset="0"/>
      <p:regular r:id="rId12"/>
      <p:bold r:id="rId13"/>
      <p:italic r:id="rId14"/>
      <p:boldItalic r:id="rId15"/>
    </p:embeddedFont>
    <p:embeddedFont>
      <p:font typeface="Orsted Sans Office" panose="00000500000000000000" pitchFamily="2" charset="0"/>
      <p:regular r:id="rId16"/>
      <p:bold r:id="rId17"/>
      <p:italic r:id="rId18"/>
      <p:boldItalic r:id="rId19"/>
    </p:embeddedFont>
  </p:embeddedFontLst>
  <p:custDataLst>
    <p:tags r:id="rId20"/>
  </p:custDataLst>
  <p:defaultTextStyle>
    <a:defPPr>
      <a:defRPr lang="en-US"/>
    </a:defPPr>
    <a:lvl1pPr marL="0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1pPr>
    <a:lvl2pPr marL="311024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2pPr>
    <a:lvl3pPr marL="622048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3pPr>
    <a:lvl4pPr marL="93307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4pPr>
    <a:lvl5pPr marL="1244097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5pPr>
    <a:lvl6pPr marL="1555121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910" autoAdjust="0"/>
  </p:normalViewPr>
  <p:slideViewPr>
    <p:cSldViewPr snapToGrid="0" showGuides="1">
      <p:cViewPr varScale="1">
        <p:scale>
          <a:sx n="108" d="100"/>
          <a:sy n="108" d="100"/>
        </p:scale>
        <p:origin x="102" y="720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50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font" Target="fonts/font5.fntdata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23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yan Stockton" userId="f97c708d-a643-4b17-a7d7-750d3cb3a38b" providerId="ADAL" clId="{484D4A50-2510-4CF7-BFBF-59C26E999DFB}"/>
    <pc:docChg chg="modSld sldOrd">
      <pc:chgData name="Bryan Stockton" userId="f97c708d-a643-4b17-a7d7-750d3cb3a38b" providerId="ADAL" clId="{484D4A50-2510-4CF7-BFBF-59C26E999DFB}" dt="2021-10-19T13:33:00.810" v="3"/>
      <pc:docMkLst>
        <pc:docMk/>
      </pc:docMkLst>
      <pc:sldChg chg="ord">
        <pc:chgData name="Bryan Stockton" userId="f97c708d-a643-4b17-a7d7-750d3cb3a38b" providerId="ADAL" clId="{484D4A50-2510-4CF7-BFBF-59C26E999DFB}" dt="2021-10-19T13:33:00.810" v="3"/>
        <pc:sldMkLst>
          <pc:docMk/>
          <pc:sldMk cId="2775732396" sldId="263"/>
        </pc:sldMkLst>
      </pc:sldChg>
      <pc:sldChg chg="ord">
        <pc:chgData name="Bryan Stockton" userId="f97c708d-a643-4b17-a7d7-750d3cb3a38b" providerId="ADAL" clId="{484D4A50-2510-4CF7-BFBF-59C26E999DFB}" dt="2021-10-19T13:32:47.030" v="1"/>
        <pc:sldMkLst>
          <pc:docMk/>
          <pc:sldMk cId="3444095919" sldId="6653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55D4A059-9CB7-4984-A0A3-D1ED63D233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082" y="812331"/>
            <a:ext cx="426186" cy="116906"/>
          </a:xfrm>
          <a:prstGeom prst="rect">
            <a:avLst/>
          </a:prstGeom>
        </p:spPr>
      </p:pic>
      <p:sp>
        <p:nvSpPr>
          <p:cNvPr id="11" name="Date Placeholder 8">
            <a:extLst>
              <a:ext uri="{FF2B5EF4-FFF2-40B4-BE49-F238E27FC236}">
                <a16:creationId xmlns:a16="http://schemas.microsoft.com/office/drawing/2014/main" id="{4633693E-3C11-4318-8416-FD574D655A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296122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B3831213-7E75-4F0D-9DD0-8445D05C01D9}" type="datetime4">
              <a:rPr lang="en-GB" smtClean="0"/>
              <a:t>19 October 2021</a:t>
            </a:fld>
            <a:endParaRPr lang="en-GB" sz="800" dirty="0"/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A33D291B-924F-480C-AD65-DA290819D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9114307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3" name="Footer Placeholder 10">
            <a:extLst>
              <a:ext uri="{FF2B5EF4-FFF2-40B4-BE49-F238E27FC236}">
                <a16:creationId xmlns:a16="http://schemas.microsoft.com/office/drawing/2014/main" id="{2DA5D32F-AFD1-4C4E-B7BA-2A7E27AC1F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9296122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4" name="Header Placeholder 12">
            <a:extLst>
              <a:ext uri="{FF2B5EF4-FFF2-40B4-BE49-F238E27FC236}">
                <a16:creationId xmlns:a16="http://schemas.microsoft.com/office/drawing/2014/main" id="{885522CB-BE4D-4C54-AC40-77FA61C599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9114307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otes Placeholder 7">
            <a:extLst>
              <a:ext uri="{FF2B5EF4-FFF2-40B4-BE49-F238E27FC236}">
                <a16:creationId xmlns:a16="http://schemas.microsoft.com/office/drawing/2014/main" id="{65382C8C-4ED1-42DD-AB05-337D058375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0000" y="5833536"/>
            <a:ext cx="6138000" cy="31109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Slide Image Placeholder 11">
            <a:extLst>
              <a:ext uri="{FF2B5EF4-FFF2-40B4-BE49-F238E27FC236}">
                <a16:creationId xmlns:a16="http://schemas.microsoft.com/office/drawing/2014/main" id="{E40FA224-93DF-490C-8EF6-1DE161414D0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1479581"/>
            <a:ext cx="6138000" cy="345247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2B8AF8AA-2837-4EB0-9BA5-AC7AA02F4D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0000" y="718813"/>
            <a:ext cx="426186" cy="116906"/>
          </a:xfrm>
          <a:prstGeom prst="rect">
            <a:avLst/>
          </a:prstGeom>
        </p:spPr>
      </p:pic>
      <p:sp>
        <p:nvSpPr>
          <p:cNvPr id="17" name="Date Placeholder 8">
            <a:extLst>
              <a:ext uri="{FF2B5EF4-FFF2-40B4-BE49-F238E27FC236}">
                <a16:creationId xmlns:a16="http://schemas.microsoft.com/office/drawing/2014/main" id="{A1944BE7-84FA-4710-BA57-4BE2B0CF485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38964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9046EAA-4433-4C92-B735-B22741F67B10}" type="datetime4">
              <a:rPr lang="en-GB" smtClean="0"/>
              <a:t>19 October 2021</a:t>
            </a:fld>
            <a:endParaRPr lang="en-GB" sz="800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A8626F51-F86B-400E-AE20-9296DDB807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920782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B6C896A7-B7DA-42DE-8F37-AB19E0AE228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938964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20" name="Header Placeholder 12">
            <a:extLst>
              <a:ext uri="{FF2B5EF4-FFF2-40B4-BE49-F238E27FC236}">
                <a16:creationId xmlns:a16="http://schemas.microsoft.com/office/drawing/2014/main" id="{52AF0052-7448-425A-A203-7EA9DA1644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920782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1pPr>
    <a:lvl2pPr marL="311024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2pPr>
    <a:lvl3pPr marL="622048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3pPr>
    <a:lvl4pPr marL="933073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4pPr>
    <a:lvl5pPr marL="1244097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5pPr>
    <a:lvl6pPr marL="1555121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2F74A43E-6607-46C8-B233-DB7D97BC96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432000" y="252000"/>
            <a:ext cx="826817" cy="2261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B053D270-E6B7-4ECA-8EC9-89D83CCC6361}" type="datetime4">
              <a:rPr lang="en-GB" smtClean="0"/>
              <a:t>19 October 20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7277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ark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ggund">
            <a:extLst>
              <a:ext uri="{FF2B5EF4-FFF2-40B4-BE49-F238E27FC236}">
                <a16:creationId xmlns:a16="http://schemas.microsoft.com/office/drawing/2014/main" id="{C7711F47-ADAE-4D4A-8344-7C0529E055C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7" name="Slide Number Placeholder 5 (FAST)" hidden="1">
            <a:extLst>
              <a:ext uri="{FF2B5EF4-FFF2-40B4-BE49-F238E27FC236}">
                <a16:creationId xmlns:a16="http://schemas.microsoft.com/office/drawing/2014/main" id="{ACF3DCE2-A025-4EC0-B360-9403076582BD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48CF170-4850-46EE-83F0-5B6A584B3BA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dark picture or click on frame and insert picture via Templafy Imag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BC5CA574-4E31-42A0-AF34-1F59E56C2840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E15DE9C6-B56E-45C2-A1AC-1F18BB099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6083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D719A810-64C5-41B5-96A9-5F6C29142A8F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Slide Number Placeholder 5 (FAST)">
            <a:extLst>
              <a:ext uri="{FF2B5EF4-FFF2-40B4-BE49-F238E27FC236}">
                <a16:creationId xmlns:a16="http://schemas.microsoft.com/office/drawing/2014/main" id="{2C601C15-AAC7-487F-A39F-A3A9C5C0AFA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834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>
            <a:extLst>
              <a:ext uri="{FF2B5EF4-FFF2-40B4-BE49-F238E27FC236}">
                <a16:creationId xmlns:a16="http://schemas.microsoft.com/office/drawing/2014/main" id="{D36016C0-329D-4C37-9E53-C310AFC3E67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FEF6550A-FE91-4EDC-9DB4-FA4B048E827A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41AAAC4F-9DD3-4852-9B3E-BFD2B81673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79EB6E37-ECA3-4E0D-AB3D-C6F9B4A2F2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50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3AF2ECDF-1B89-4873-8C29-702E24E54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9F714630-8AA7-4D22-97B5-AFB4270C37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FBDBDC-FA75-4FF7-840E-C198C8297EC5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8167E5BF-175D-4036-B7FD-5A45C08DA62A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113DC2-7993-41A9-98A7-F459F2496C5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348328E-6517-4208-A8F7-49B423B926E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376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2721" userDrawn="1">
          <p15:clr>
            <a:srgbClr val="FBAE40"/>
          </p15:clr>
        </p15:guide>
        <p15:guide id="8" pos="303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25897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solidFill>
                  <a:schemeClr val="tx2"/>
                </a:solidFill>
                <a:latin typeface="+mn-lt"/>
              </a:defRPr>
            </a:lvl6pPr>
            <a:lvl7pPr>
              <a:defRPr>
                <a:solidFill>
                  <a:schemeClr val="tx2"/>
                </a:solidFill>
                <a:latin typeface="+mn-lt"/>
              </a:defRPr>
            </a:lvl7pPr>
            <a:lvl8pPr>
              <a:defRPr>
                <a:solidFill>
                  <a:schemeClr val="tx2"/>
                </a:solidFill>
                <a:latin typeface="+mn-lt"/>
              </a:defRPr>
            </a:lvl8pPr>
            <a:lvl9pPr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8pPr>
            <a:lvl9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0888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C195C5-90D2-493A-A2AC-5CE7E6DAD698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E70AD120-417B-4407-A2D1-65AB28CF540C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1A5DD-8AF0-4247-9A9E-E145137DBE52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14E8FCED-203A-457F-9F78-815525BBBE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562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 userDrawn="1">
          <p15:clr>
            <a:srgbClr val="FBAE40"/>
          </p15:clr>
        </p15:guide>
        <p15:guide id="7" pos="303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25897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solidFill>
                  <a:schemeClr val="bg1"/>
                </a:solidFill>
                <a:latin typeface="+mn-lt"/>
              </a:defRPr>
            </a:lvl6pPr>
            <a:lvl7pPr>
              <a:defRPr sz="1000">
                <a:solidFill>
                  <a:schemeClr val="bg1"/>
                </a:solidFill>
                <a:latin typeface="+mn-lt"/>
              </a:defRPr>
            </a:lvl7pPr>
            <a:lvl8pPr>
              <a:defRPr sz="1000">
                <a:solidFill>
                  <a:schemeClr val="bg1"/>
                </a:solidFill>
                <a:latin typeface="+mn-lt"/>
              </a:defRPr>
            </a:lvl8pPr>
            <a:lvl9pPr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latin typeface="+mn-lt"/>
              </a:defRPr>
            </a:lvl6pPr>
            <a:lvl7pPr>
              <a:defRPr sz="1000">
                <a:latin typeface="+mn-lt"/>
              </a:defRPr>
            </a:lvl7pPr>
            <a:lvl8pPr>
              <a:defRPr sz="1000">
                <a:latin typeface="+mn-lt"/>
              </a:defRPr>
            </a:lvl8pPr>
            <a:lvl9pPr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570788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8DF04-6FCB-499F-A324-ED1263F151EB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93F8461E-A531-408B-A6D9-506F3BF459B4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A263B8-B88C-4569-BE36-64920329F4C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23C38ED7-BB51-4D7D-9311-F599A1B110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13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 1">
            <a:extLst>
              <a:ext uri="{FF2B5EF4-FFF2-40B4-BE49-F238E27FC236}">
                <a16:creationId xmlns:a16="http://schemas.microsoft.com/office/drawing/2014/main" id="{1352FE20-58C7-4C02-A5B9-188FFECA9C70}"/>
              </a:ext>
            </a:extLst>
          </p:cNvPr>
          <p:cNvSpPr/>
          <p:nvPr userDrawn="1"/>
        </p:nvSpPr>
        <p:spPr>
          <a:xfrm>
            <a:off x="4618103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2" name="Baggrund 1"/>
          <p:cNvSpPr/>
          <p:nvPr userDrawn="1"/>
        </p:nvSpPr>
        <p:spPr>
          <a:xfrm>
            <a:off x="0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8pPr>
            <a:lvl9pPr indent="-216000">
              <a:lnSpc>
                <a:spcPct val="100000"/>
              </a:lnSpc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  <a:p>
            <a:pPr lvl="4"/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250336-BCA5-4C68-91FE-23C5B172396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760B7DA3-8210-44F7-B68D-768928A81732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97DDBC-BDD2-45A0-92D2-5D413E12465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BA7531A-6144-4B03-8510-B075DA49F58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755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Pictur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5C5449-5351-4BC4-A062-46B47AB9E0A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615200" y="1029600"/>
            <a:ext cx="4528800" cy="3420000"/>
          </a:xfrm>
          <a:solidFill>
            <a:schemeClr val="bg2"/>
          </a:solidFill>
        </p:spPr>
        <p:txBody>
          <a:bodyPr lIns="216000" tIns="648000" rIns="216000" bIns="0" anchor="ctr" anchorCtr="0"/>
          <a:lstStyle>
            <a:lvl1pPr marL="0" indent="0" algn="ctr">
              <a:spcAft>
                <a:spcPts val="0"/>
              </a:spcAft>
              <a:buNone/>
              <a:defRPr sz="1000" b="0">
                <a:latin typeface="Orsted Sans Office" panose="00000500000000000000" pitchFamily="2" charset="0"/>
              </a:defRPr>
            </a:lvl1pPr>
          </a:lstStyle>
          <a:p>
            <a:r>
              <a:rPr lang="en-GB" dirty="0"/>
              <a:t>Click icon to add picture</a:t>
            </a:r>
            <a:br>
              <a:rPr lang="en-GB" dirty="0"/>
            </a:br>
            <a:r>
              <a:rPr lang="en-GB" dirty="0"/>
              <a:t>or click on frame and insert picture via Templafy Imag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EB20DF-455E-45F0-BA0A-31B71287B05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0DDFACCC-A42B-4213-A8CB-87324EE60F94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6D1BE-B971-41F3-8D86-92918FC6C542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D4919216-61E8-4FD6-9705-5838E99F225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8284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290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3362399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6292800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B13F57E7-D3FC-4736-9D2A-EAB3E718C469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8128A13B-9D21-429B-8869-537307ED2FD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363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645" userDrawn="1">
          <p15:clr>
            <a:srgbClr val="FBAE40"/>
          </p15:clr>
        </p15:guide>
        <p15:guide id="7" pos="3963" userDrawn="1">
          <p15:clr>
            <a:srgbClr val="FBAE40"/>
          </p15:clr>
        </p15:guide>
        <p15:guide id="10" pos="1798" userDrawn="1">
          <p15:clr>
            <a:srgbClr val="FBAE40"/>
          </p15:clr>
        </p15:guide>
        <p15:guide id="11" pos="211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F8A859BB-4097-4B5C-9389-6FAEBA760E8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8D3D8A-091D-4BFB-A5DB-F4E694271B33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620C479-51CF-4825-94BD-069C67AE9DC8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0567A9AF-7741-4EE2-9D70-D2F0624DC48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C653F7-01D6-474A-B06D-33C489D108D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F341A5B3-1356-4904-B287-386A8D0AA49C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CB9D83-8D6C-40B3-A6B8-2D1D62035421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65E63BC4-A76A-47BF-B6BA-4C5E281E6E15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6221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orient="horz" pos="1567" userDrawn="1">
          <p15:clr>
            <a:srgbClr val="FBAE40"/>
          </p15:clr>
        </p15:guide>
        <p15:guide id="8" orient="horz" pos="1882" userDrawn="1">
          <p15:clr>
            <a:srgbClr val="FBAE40"/>
          </p15:clr>
        </p15:guide>
        <p15:guide id="9" pos="2721" userDrawn="1">
          <p15:clr>
            <a:srgbClr val="FBAE40"/>
          </p15:clr>
        </p15:guide>
        <p15:guide id="10" pos="30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336726AB-14A5-4B9C-87C4-AE341AF4CDC7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1D6E24-EF31-40AE-9B17-23D4CEDFF3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7113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tx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628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99806BF1-EA35-4226-AC61-119F768F6FDD}" type="datetime4">
              <a:rPr lang="en-GB" smtClean="0"/>
              <a:t>19 October 20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3020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1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7738C9-DA24-4CF0-8DAD-EA13572AF5D6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4BB4B54-94C1-4B8F-955D-4A138B4885B3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2334051-2DCD-4BF5-8E3B-66EFA5476E0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F7717-ED54-4A71-BBBA-48BA5FF570C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C4C4471C-7DFA-4D85-836F-493468C6971A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FEE082-8BDA-4F95-ADFD-03075BD80051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C38EDEDE-C2FE-431F-88B2-387DD76107D4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558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039" userDrawn="1">
          <p15:clr>
            <a:srgbClr val="FBAE40"/>
          </p15:clr>
        </p15:guide>
        <p15:guide id="8" orient="horz" pos="1566" userDrawn="1">
          <p15:clr>
            <a:srgbClr val="FBAE40"/>
          </p15:clr>
        </p15:guide>
        <p15:guide id="9" orient="horz" pos="1882" userDrawn="1">
          <p15:clr>
            <a:srgbClr val="FBAE40"/>
          </p15:clr>
        </p15:guide>
        <p15:guide id="10" pos="272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7020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E726513E-DE07-411E-86CE-B875A66D9457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B471A5BF-BC19-4E62-945E-4AEF3F24F7A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527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4103" userDrawn="1">
          <p15:clr>
            <a:srgbClr val="FBAE40"/>
          </p15:clr>
        </p15:guide>
        <p15:guide id="7" pos="4421" userDrawn="1">
          <p15:clr>
            <a:srgbClr val="FBAE40"/>
          </p15:clr>
        </p15:guide>
        <p15:guide id="11" pos="3038" userDrawn="1">
          <p15:clr>
            <a:srgbClr val="FBAE40"/>
          </p15:clr>
        </p15:guide>
        <p15:guide id="12" pos="272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B6D4C96D-A5C6-462E-A726-3A3CDB7C1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9" name="Content Placeholder 3"/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1" name="Content Placeholder 4"/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3" name="Content Placeholder 5"/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BB1C826-8422-4628-93A8-315ECBAB13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AC9694-0939-4287-80B8-8D8991B3002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C4824C57-F502-47A7-B303-E8BE6D284D70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42E6A9-DFF4-459E-9477-51C4E503C35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5EEB90F5-37ED-4E21-B4F3-76D61BEE3A7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5021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4" pos="3039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88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ggund">
            <a:extLst>
              <a:ext uri="{FF2B5EF4-FFF2-40B4-BE49-F238E27FC236}">
                <a16:creationId xmlns:a16="http://schemas.microsoft.com/office/drawing/2014/main" id="{BED0A9AC-E171-4E5D-ABD0-556AD3B13530}"/>
              </a:ext>
            </a:extLst>
          </p:cNvPr>
          <p:cNvSpPr/>
          <p:nvPr userDrawn="1"/>
        </p:nvSpPr>
        <p:spPr bwMode="ltGray">
          <a:xfrm>
            <a:off x="4572000" y="0"/>
            <a:ext cx="4572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5" name="Picture Placeholder 1">
            <a:extLst>
              <a:ext uri="{FF2B5EF4-FFF2-40B4-BE49-F238E27FC236}">
                <a16:creationId xmlns:a16="http://schemas.microsoft.com/office/drawing/2014/main" id="{95EC5A00-F373-4B9E-90D0-78C2B446DE2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0" rIns="216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34" name="Title 16">
            <a:extLst>
              <a:ext uri="{FF2B5EF4-FFF2-40B4-BE49-F238E27FC236}">
                <a16:creationId xmlns:a16="http://schemas.microsoft.com/office/drawing/2014/main" id="{2A9B6D3A-1876-4B39-9B5F-BA5E5CEBE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EE5168EB-F110-45AB-AB79-DB95008DDE0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1082" y="2843212"/>
            <a:ext cx="2559618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7782524-1158-4654-BA5E-A2BD94C173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170B52BE-DEB5-49C4-B6B9-119CBF4526E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44800" y="4814425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0E003746-A877-4C41-AFA0-DA2FDDD32C05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F813863F-F589-441D-9004-3A08A89DC8B5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31715F6-207D-4160-8320-A60EC214DB7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E03F9A40-0343-46E2-8058-06615B7B483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89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5" pos="288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billede 1">
            <a:extLst>
              <a:ext uri="{FF2B5EF4-FFF2-40B4-BE49-F238E27FC236}">
                <a16:creationId xmlns:a16="http://schemas.microsoft.com/office/drawing/2014/main" id="{CDFA7363-B2A3-414B-8CD2-9760EB77FBA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252000" tIns="0" rIns="252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15" name="Title 16">
            <a:extLst>
              <a:ext uri="{FF2B5EF4-FFF2-40B4-BE49-F238E27FC236}">
                <a16:creationId xmlns:a16="http://schemas.microsoft.com/office/drawing/2014/main" id="{4704384C-A5B7-4110-AAA9-4C8D00426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4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87392D5-D764-4675-937A-382F4E25E4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4000" y="1028256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 marL="1080000" indent="-216000">
              <a:buFont typeface="Arial" panose="020B0604020202020204" pitchFamily="34" charset="0"/>
              <a:buChar char="•"/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082" y="2843212"/>
            <a:ext cx="2701670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149EF0-AA98-42C2-B446-EE6031E780B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FBDC553E-FDAA-49E8-B84D-22B7F8B0875A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67041F-8593-4BC8-A700-DE0919BCDF4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05D4817-301D-4449-8A20-9C81D519DF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4280D85E-6FEE-4B7A-AF14-62F0C061AB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94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37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133FABFE-960E-4D78-A6EF-C623F529723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7F36C2-643E-40F1-9A8C-BBC22355DDA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027534BF-0BF5-4BCF-90B3-AF7BE36750CE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6846CA-3A6B-4342-A399-29CC6BA99F5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62F4F0A3-E514-4920-9CAC-3FB00C6151A3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chemeClr val="bg1"/>
          </a:solidFill>
        </p:spPr>
        <p:txBody>
          <a:bodyPr tIns="432000" anchor="ctr" anchorCtr="0"/>
          <a:lstStyle>
            <a:lvl1pPr marL="0" indent="0" algn="ctr">
              <a:buNone/>
              <a:defRPr b="0"/>
            </a:lvl1pPr>
          </a:lstStyle>
          <a:p>
            <a:r>
              <a:rPr lang="en-GB" dirty="0"/>
              <a:t>Click icon to add media or click on frame and insert media via Templafy Images</a:t>
            </a:r>
          </a:p>
        </p:txBody>
      </p:sp>
    </p:spTree>
    <p:extLst>
      <p:ext uri="{BB962C8B-B14F-4D97-AF65-F5344CB8AC3E}">
        <p14:creationId xmlns:p14="http://schemas.microsoft.com/office/powerpoint/2010/main" val="39222944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75027CF-613E-459C-A69E-35E31A5FCE55}"/>
              </a:ext>
            </a:extLst>
          </p:cNvPr>
          <p:cNvSpPr/>
          <p:nvPr userDrawn="1"/>
        </p:nvSpPr>
        <p:spPr bwMode="black">
          <a:xfrm>
            <a:off x="432000" y="270000"/>
            <a:ext cx="479123" cy="324717"/>
          </a:xfrm>
          <a:custGeom>
            <a:avLst/>
            <a:gdLst>
              <a:gd name="connsiteX0" fmla="*/ 480771 w 638831"/>
              <a:gd name="connsiteY0" fmla="*/ 0 h 432956"/>
              <a:gd name="connsiteX1" fmla="*/ 638831 w 638831"/>
              <a:gd name="connsiteY1" fmla="*/ 0 h 432956"/>
              <a:gd name="connsiteX2" fmla="*/ 563095 w 638831"/>
              <a:gd name="connsiteY2" fmla="*/ 432956 h 432956"/>
              <a:gd name="connsiteX3" fmla="*/ 330942 w 638831"/>
              <a:gd name="connsiteY3" fmla="*/ 432956 h 432956"/>
              <a:gd name="connsiteX4" fmla="*/ 149829 w 638831"/>
              <a:gd name="connsiteY4" fmla="*/ 0 h 432956"/>
              <a:gd name="connsiteX5" fmla="*/ 307891 w 638831"/>
              <a:gd name="connsiteY5" fmla="*/ 0 h 432956"/>
              <a:gd name="connsiteX6" fmla="*/ 232153 w 638831"/>
              <a:gd name="connsiteY6" fmla="*/ 432956 h 432956"/>
              <a:gd name="connsiteX7" fmla="*/ 0 w 638831"/>
              <a:gd name="connsiteY7" fmla="*/ 432956 h 4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8831" h="432956">
                <a:moveTo>
                  <a:pt x="480771" y="0"/>
                </a:moveTo>
                <a:lnTo>
                  <a:pt x="638831" y="0"/>
                </a:lnTo>
                <a:lnTo>
                  <a:pt x="563095" y="432956"/>
                </a:lnTo>
                <a:lnTo>
                  <a:pt x="330942" y="432956"/>
                </a:lnTo>
                <a:close/>
                <a:moveTo>
                  <a:pt x="149829" y="0"/>
                </a:moveTo>
                <a:lnTo>
                  <a:pt x="307891" y="0"/>
                </a:lnTo>
                <a:lnTo>
                  <a:pt x="232153" y="432956"/>
                </a:lnTo>
                <a:lnTo>
                  <a:pt x="0" y="43295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27000" rIns="54000" bIns="27000" rtlCol="0" anchor="ctr">
            <a:noAutofit/>
          </a:bodyPr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6" y="827088"/>
            <a:ext cx="6961913" cy="2939412"/>
          </a:xfrm>
        </p:spPr>
        <p:txBody>
          <a:bodyPr wrap="square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uot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EA2AC93-6324-493E-AFC2-33DF15EAFE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388" y="4128393"/>
            <a:ext cx="6961912" cy="3159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450"/>
              </a:spcAft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3pPr>
            <a:lvl4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4pPr>
            <a:lvl5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6pPr>
            <a:lvl7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7pPr>
            <a:lvl8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8pPr>
            <a:lvl9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180F1A-7E46-46CF-B46A-159E655857C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F7558DDE-BA91-4975-A78E-E99E34BBB7CF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B97192-A29C-4DAD-A2B0-293FBA2E9C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F1110216-271D-4467-8A40-C485C6CEEF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21F055B-94C9-4A0C-80D6-A2EAD732B51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377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8" y="270000"/>
            <a:ext cx="6961912" cy="3793500"/>
          </a:xfrm>
        </p:spPr>
        <p:txBody>
          <a:bodyPr wrap="square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&amp;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0559A7-B871-4D4D-B475-C92C1FE8E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F22A10A7-F6AB-42D6-8ED9-6692FD64B899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EEEDEE-4E49-4561-A93D-7911464BE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95762D3-1F42-4230-8AE5-57CA010216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5045C851-08B9-4003-95B0-54D60818665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0352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CC1A041A-5ACA-45CA-AD32-97622667D9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027113"/>
            <a:ext cx="6120900" cy="2634087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hank you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827A5D07-EA8D-4757-A840-AD94A54263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97E70A84-94D6-402C-9DB4-EF5D384DCD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4F8F4D99-16B7-4C1A-8DAD-83F5452F3115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12" name="Footer Placeholder 6" hidden="1">
            <a:extLst>
              <a:ext uri="{FF2B5EF4-FFF2-40B4-BE49-F238E27FC236}">
                <a16:creationId xmlns:a16="http://schemas.microsoft.com/office/drawing/2014/main" id="{269723D8-1C78-43E9-9FA9-6570E264308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122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36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D556C6-991D-4FD9-9393-739D0F8A6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73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D556C6-991D-4FD9-9393-739D0F8A6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49757780-C244-418D-A0DD-15ED296FE3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E76D947-08D5-4897-BC99-FA8B3E3B5C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D0878B-07BF-4B46-B6AF-DD7B9CC6B7FE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74A11C8B-3A12-4D6F-A451-CD4D4BA56D7D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315FD-1629-4CE7-A201-A0B8CB9838B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F913250-153E-4DDB-925D-E1756706767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295F4698-EF31-45F5-96F9-2BAEA047441C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2453A56-9681-482E-B234-77967782C47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light picture using the Insert tab › Pictures or insert picture via Templafy Images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054CD7CD-654A-4448-B982-0A70FAD0D7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9DA32C98-1DDB-4302-966C-0BD1AE32FF58}" type="datetime4">
              <a:rPr lang="en-GB" smtClean="0"/>
              <a:t>19 October 20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454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55FFAC-2B80-4C30-87FF-D26CF823E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62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55FFAC-2B80-4C30-87FF-D26CF823E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E3FB5418-216C-4728-B3CC-740A652F46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DAFF61-D1B8-4F91-B1DF-6C41AF2547BB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0DFD9E85-1904-49ED-A9B3-6DB297B27716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2922E-8E73-43CA-88A4-1E6E2AE593D2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Slide Number Placeholder 5 (FAST)">
            <a:extLst>
              <a:ext uri="{FF2B5EF4-FFF2-40B4-BE49-F238E27FC236}">
                <a16:creationId xmlns:a16="http://schemas.microsoft.com/office/drawing/2014/main" id="{CD799328-F495-4C31-AD22-AE97BE20781A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16396" y="1034422"/>
            <a:ext cx="1980000" cy="3394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675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, or 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675" b="0" i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baseline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via Templafy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5370822" y="1221095"/>
            <a:ext cx="507502" cy="748278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02144" y="2691915"/>
            <a:ext cx="235341" cy="407925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07491" y="1034423"/>
            <a:ext cx="1980000" cy="3620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12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675" b="1" i="0" u="sng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ridlines</a:t>
            </a:r>
            <a:endParaRPr lang="en-GB" sz="1200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387491" y="1450911"/>
            <a:ext cx="283720" cy="407525"/>
          </a:xfrm>
          <a:prstGeom prst="rect">
            <a:avLst/>
          </a:prstGeom>
        </p:spPr>
      </p:pic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5371018" y="2153143"/>
            <a:ext cx="255903" cy="241280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602" y="1146295"/>
            <a:ext cx="488138" cy="730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7C6D8E13-F0A9-435D-9036-09F4FBFA7C4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800" y="1034423"/>
            <a:ext cx="1980000" cy="3596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you will find folders such as: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tle Slides, Design Elements, Maps and many more categori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you will find folders such as: Flags, Pictogram, Arrow and many more work fil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675" b="1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16">
            <a:extLst>
              <a:ext uri="{FF2B5EF4-FFF2-40B4-BE49-F238E27FC236}">
                <a16:creationId xmlns:a16="http://schemas.microsoft.com/office/drawing/2014/main" id="{B367A6D6-7164-4A6D-BAC6-3F42961A75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94465" y="2905342"/>
            <a:ext cx="246661" cy="379126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2570CFF1-A3F5-41FA-AA2D-BA192830754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94465" y="4022417"/>
            <a:ext cx="403849" cy="12963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7C7950F-B500-469D-A258-255A3518B40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94464" y="3511990"/>
            <a:ext cx="356571" cy="132572"/>
          </a:xfrm>
          <a:prstGeom prst="rect">
            <a:avLst/>
          </a:prstGeom>
        </p:spPr>
      </p:pic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431800" y="336535"/>
            <a:ext cx="8278813" cy="4876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24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36BB1D8A-34E7-4648-A7B5-5819F03E9891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1920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buClr>
                <a:srgbClr val="003755"/>
              </a:buClr>
            </a:pPr>
            <a:endParaRPr lang="en-GB" sz="105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22660" y="492618"/>
            <a:ext cx="8517733" cy="2169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3300" b="0" noProof="0" dirty="0">
                <a:solidFill>
                  <a:schemeClr val="bg1"/>
                </a:solidFill>
              </a:rPr>
              <a:t>If you see any </a:t>
            </a:r>
            <a:r>
              <a:rPr lang="en-GB" sz="33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3300" b="0" i="0" noProof="0" dirty="0">
                <a:solidFill>
                  <a:schemeClr val="bg1"/>
                </a:solidFill>
              </a:rPr>
              <a:t>one</a:t>
            </a:r>
            <a:r>
              <a:rPr lang="en-GB" sz="3300" b="1" i="1" noProof="0" dirty="0">
                <a:solidFill>
                  <a:schemeClr val="bg1"/>
                </a:solidFill>
              </a:rPr>
              <a:t>,</a:t>
            </a:r>
            <a:br>
              <a:rPr lang="en-GB" sz="3300" b="0" i="0" noProof="0" dirty="0">
                <a:solidFill>
                  <a:schemeClr val="bg1"/>
                </a:solidFill>
              </a:rPr>
            </a:br>
            <a:r>
              <a:rPr lang="en-GB" sz="33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33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33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100" b="0" noProof="0" dirty="0">
                <a:solidFill>
                  <a:schemeClr val="bg1"/>
                </a:solidFill>
              </a:rPr>
            </a:br>
            <a:br>
              <a:rPr lang="en-GB" sz="2100" b="0" noProof="0" dirty="0">
                <a:solidFill>
                  <a:schemeClr val="bg1"/>
                </a:solidFill>
              </a:rPr>
            </a:br>
            <a:endParaRPr lang="en-GB" sz="21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7803656" y="2493920"/>
            <a:ext cx="777591" cy="777591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322660" y="1941281"/>
            <a:ext cx="7614260" cy="1685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350" b="1" i="1" noProof="0" dirty="0">
                <a:solidFill>
                  <a:schemeClr val="bg1"/>
                </a:solidFill>
              </a:rPr>
              <a:t>Do not use </a:t>
            </a:r>
            <a:endParaRPr lang="en-GB" sz="18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22660" y="3889841"/>
            <a:ext cx="8517731" cy="6642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200" b="0" noProof="0" dirty="0">
                <a:solidFill>
                  <a:schemeClr val="bg1"/>
                </a:solidFill>
              </a:rPr>
            </a:br>
            <a:endParaRPr lang="en-GB" sz="12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3D0EBE5-6413-4E29-A01E-7797767A66EE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01399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 -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21EEB37D-7200-466D-8126-8B9017DECD8B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431969" y="1143346"/>
            <a:ext cx="8286100" cy="276999"/>
            <a:chOff x="1792773" y="2085631"/>
            <a:chExt cx="8649951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3278662" y="2085631"/>
              <a:ext cx="6426329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277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24780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768928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5920281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866535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431784" y="1431071"/>
            <a:ext cx="8276616" cy="276999"/>
            <a:chOff x="1792768" y="2616963"/>
            <a:chExt cx="8650728" cy="369332"/>
          </a:xfrm>
          <a:noFill/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3281438" y="2616963"/>
              <a:ext cx="6433325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2768" y="2616963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25552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776308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592685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8673839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431802" y="1714096"/>
            <a:ext cx="8277502" cy="276999"/>
            <a:chOff x="2261179" y="3155687"/>
            <a:chExt cx="8173718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3667612" y="3155687"/>
              <a:ext cx="6077933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1179" y="3155687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43902" y="3155687"/>
              <a:ext cx="59099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91417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166884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876212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431799" y="1999469"/>
            <a:ext cx="8277503" cy="276999"/>
            <a:chOff x="2261179" y="3694411"/>
            <a:chExt cx="8173718" cy="369332"/>
          </a:xfrm>
          <a:noFill/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3667612" y="3694411"/>
              <a:ext cx="6077933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1179" y="3694411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43902" y="3694411"/>
              <a:ext cx="590995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914175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166886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8762125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9165E74-A6E6-40F4-946C-FFD2950A9E2B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2E2347-D054-4BE1-B696-594B5B14D49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5811E980-2D08-4483-9C9A-2F7E42AFFDA2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1AE4B4-561D-4BE3-9774-6EED273A0A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53" name="Logo">
            <a:extLst>
              <a:ext uri="{FF2B5EF4-FFF2-40B4-BE49-F238E27FC236}">
                <a16:creationId xmlns:a16="http://schemas.microsoft.com/office/drawing/2014/main" id="{9209CACE-99A8-4426-9195-5179941423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54" name="Slide Number Placeholder 5 (FAST)">
            <a:extLst>
              <a:ext uri="{FF2B5EF4-FFF2-40B4-BE49-F238E27FC236}">
                <a16:creationId xmlns:a16="http://schemas.microsoft.com/office/drawing/2014/main" id="{0EE03122-080A-448B-8ECB-6C5DA2A8E4B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8496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- 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2C75C55-8251-4D96-98FF-6B0D5D924280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433389" y="1155114"/>
            <a:ext cx="8438812" cy="276999"/>
            <a:chOff x="1830131" y="2085631"/>
            <a:chExt cx="6631327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863041" y="2085631"/>
              <a:ext cx="559841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 defTabSz="7000700">
                <a:tabLst>
                  <a:tab pos="7134047" algn="l"/>
                </a:tabLst>
              </a:pPr>
              <a:r>
                <a:rPr lang="en-GB" sz="405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830131" y="2085631"/>
              <a:ext cx="25116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880024" y="1714064"/>
            <a:ext cx="7992174" cy="276999"/>
            <a:chOff x="2070583" y="2085631"/>
            <a:chExt cx="6390874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27181" y="2085631"/>
              <a:ext cx="543427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27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7058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27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E03093-7FDA-45E2-9ECD-2DB190A59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5C0BB98B-3A57-4590-B971-1BE4CCEC681A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17EF7F-6E87-4AD5-9A77-ACDC47ED8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21" name="Logo">
            <a:extLst>
              <a:ext uri="{FF2B5EF4-FFF2-40B4-BE49-F238E27FC236}">
                <a16:creationId xmlns:a16="http://schemas.microsoft.com/office/drawing/2014/main" id="{B7FB6307-7921-4F62-9567-7CE4D5ED6D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4C3C721D-4D46-4B5F-9280-22EBC4B4C94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18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urbine Advanc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D719A810-64C5-41B5-96A9-5F6C29142A8F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Slide Number Placeholder 5 (FAST)">
            <a:extLst>
              <a:ext uri="{FF2B5EF4-FFF2-40B4-BE49-F238E27FC236}">
                <a16:creationId xmlns:a16="http://schemas.microsoft.com/office/drawing/2014/main" id="{2C601C15-AAC7-487F-A39F-A3A9C5C0AFA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966AC1-EFEB-42D8-B53A-F580179622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065" b="19561"/>
          <a:stretch/>
        </p:blipFill>
        <p:spPr>
          <a:xfrm>
            <a:off x="0" y="2313250"/>
            <a:ext cx="9144000" cy="213763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971C3A2-D1B0-4DDC-A2D2-AAA33743AB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8013" b="72635"/>
          <a:stretch/>
        </p:blipFill>
        <p:spPr>
          <a:xfrm>
            <a:off x="3706046" y="1086168"/>
            <a:ext cx="1096069" cy="96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6691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ctive/Awarded Pro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D719A810-64C5-41B5-96A9-5F6C29142A8F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Slide Number Placeholder 5 (FAST)">
            <a:extLst>
              <a:ext uri="{FF2B5EF4-FFF2-40B4-BE49-F238E27FC236}">
                <a16:creationId xmlns:a16="http://schemas.microsoft.com/office/drawing/2014/main" id="{2C601C15-AAC7-487F-A39F-A3A9C5C0AFA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 descr="Map&#10;&#10;Description automatically generated">
            <a:extLst>
              <a:ext uri="{FF2B5EF4-FFF2-40B4-BE49-F238E27FC236}">
                <a16:creationId xmlns:a16="http://schemas.microsoft.com/office/drawing/2014/main" id="{45842753-1352-493E-9C39-6DB560559C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9" t="11564" r="49220" b="12517"/>
          <a:stretch/>
        </p:blipFill>
        <p:spPr>
          <a:xfrm>
            <a:off x="0" y="1029600"/>
            <a:ext cx="3802889" cy="3531598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34A1948-AFBB-446A-9606-2468ADA53DE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44800" y="1029600"/>
            <a:ext cx="3967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FD2E013-2EE7-4689-9922-AF631228D116}"/>
              </a:ext>
            </a:extLst>
          </p:cNvPr>
          <p:cNvGrpSpPr/>
          <p:nvPr userDrawn="1"/>
        </p:nvGrpSpPr>
        <p:grpSpPr>
          <a:xfrm>
            <a:off x="432000" y="3896327"/>
            <a:ext cx="1237694" cy="538526"/>
            <a:chOff x="1813932" y="3925229"/>
            <a:chExt cx="1237694" cy="53852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075ABC7-599B-4E48-BABB-C734D08AA0CA}"/>
                </a:ext>
              </a:extLst>
            </p:cNvPr>
            <p:cNvSpPr/>
            <p:nvPr userDrawn="1"/>
          </p:nvSpPr>
          <p:spPr>
            <a:xfrm>
              <a:off x="1813932" y="3925229"/>
              <a:ext cx="96644" cy="96644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6000"/>
                </a:lnSpc>
              </a:pPr>
              <a:endParaRPr lang="en-US" sz="1300" noProof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FAD411A-9CAA-4CF9-9536-F63C275C813A}"/>
                </a:ext>
              </a:extLst>
            </p:cNvPr>
            <p:cNvSpPr/>
            <p:nvPr userDrawn="1"/>
          </p:nvSpPr>
          <p:spPr>
            <a:xfrm>
              <a:off x="1813932" y="4143770"/>
              <a:ext cx="96644" cy="96644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6000"/>
                </a:lnSpc>
              </a:pPr>
              <a:endParaRPr lang="en-US" sz="1300" noProof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A548666-DD63-4ACE-B62A-6D7B66142028}"/>
                </a:ext>
              </a:extLst>
            </p:cNvPr>
            <p:cNvSpPr/>
            <p:nvPr userDrawn="1"/>
          </p:nvSpPr>
          <p:spPr>
            <a:xfrm>
              <a:off x="1813932" y="4367111"/>
              <a:ext cx="96644" cy="96644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6000"/>
                </a:lnSpc>
              </a:pPr>
              <a:endParaRPr lang="en-US" sz="1300" noProof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B16BC8C-2D72-4D21-AB04-74C1A18F6E2F}"/>
                </a:ext>
              </a:extLst>
            </p:cNvPr>
            <p:cNvSpPr txBox="1"/>
            <p:nvPr userDrawn="1"/>
          </p:nvSpPr>
          <p:spPr>
            <a:xfrm>
              <a:off x="2032774" y="3936730"/>
              <a:ext cx="866452" cy="886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en-US" sz="600" dirty="0">
                  <a:solidFill>
                    <a:schemeClr val="tx2"/>
                  </a:solidFill>
                  <a:latin typeface="Orsted Sans Office" pitchFamily="2" charset="0"/>
                </a:rPr>
                <a:t>Operational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035E662-191C-44C8-BE73-EC180906FC04}"/>
                </a:ext>
              </a:extLst>
            </p:cNvPr>
            <p:cNvSpPr txBox="1"/>
            <p:nvPr userDrawn="1"/>
          </p:nvSpPr>
          <p:spPr>
            <a:xfrm>
              <a:off x="2032774" y="4150789"/>
              <a:ext cx="1018852" cy="886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en-US" sz="600">
                  <a:solidFill>
                    <a:schemeClr val="tx2"/>
                  </a:solidFill>
                  <a:latin typeface="Orsted Sans Office" pitchFamily="2" charset="0"/>
                </a:rPr>
                <a:t>Under construction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882B001-DA88-43CA-8767-2622818E4F36}"/>
                </a:ext>
              </a:extLst>
            </p:cNvPr>
            <p:cNvSpPr txBox="1"/>
            <p:nvPr userDrawn="1"/>
          </p:nvSpPr>
          <p:spPr>
            <a:xfrm>
              <a:off x="2032774" y="4375141"/>
              <a:ext cx="866452" cy="886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en-US" sz="600">
                  <a:solidFill>
                    <a:schemeClr val="tx2"/>
                  </a:solidFill>
                  <a:latin typeface="Orsted Sans Office" pitchFamily="2" charset="0"/>
                </a:rPr>
                <a:t>Award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645981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C97E494B-1242-4CDF-8717-F2C28081C7B1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FBD095B-30F1-4036-8224-02A6852D525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dark picture using the Insert tab › Pictures or insert picture via Templafy Images</a:t>
            </a:r>
          </a:p>
        </p:txBody>
      </p:sp>
      <p:sp>
        <p:nvSpPr>
          <p:cNvPr id="9" name="Text Placeholder logo">
            <a:extLst>
              <a:ext uri="{FF2B5EF4-FFF2-40B4-BE49-F238E27FC236}">
                <a16:creationId xmlns:a16="http://schemas.microsoft.com/office/drawing/2014/main" id="{1C420F0E-28F4-45E9-AEF3-1A90B860DED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bg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4CEA1584-CF3D-45C2-B3AF-C876BC840739}" type="datetime4">
              <a:rPr lang="en-GB" smtClean="0"/>
              <a:t>19 October 20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7685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im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D485AA6-92EE-46D3-8826-CF357E1A45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00" y="1029600"/>
            <a:ext cx="12096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09:00-10:00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908901" y="1029600"/>
            <a:ext cx="68033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917D078-86DA-42DB-B911-886B29E5F76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F3555DF2-5558-40BE-AA7E-70A2C232AE32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B6D7C61-B973-4F81-8768-45AD5C0D342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0D92C097-0F71-4A74-B24B-EA803C23A9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4" name="Slide Number Placeholder 5 (FAST)">
            <a:extLst>
              <a:ext uri="{FF2B5EF4-FFF2-40B4-BE49-F238E27FC236}">
                <a16:creationId xmlns:a16="http://schemas.microsoft.com/office/drawing/2014/main" id="{E2752BD8-BE4E-4AD0-A94A-BD3DC589BC7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316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F4716C-9221-4692-8911-EF8F39D2D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1029600"/>
            <a:ext cx="8276400" cy="3420000"/>
          </a:xfrm>
        </p:spPr>
        <p:txBody>
          <a:bodyPr tIns="216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65CD90-C414-4A15-A278-B6A194770CF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60A67B9B-0D31-4CA4-B8CF-39FCF6D7309B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6079E2-07E2-4425-B2D7-C877DDC194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77969EBE-D477-4048-A87C-DD29F953D9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5" name="Slide Number Placeholder 5 (FAST)">
            <a:extLst>
              <a:ext uri="{FF2B5EF4-FFF2-40B4-BE49-F238E27FC236}">
                <a16:creationId xmlns:a16="http://schemas.microsoft.com/office/drawing/2014/main" id="{8363E194-0C85-4CEF-ACEE-EF5BAD2B850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584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Tim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827088"/>
            <a:ext cx="6948000" cy="2404812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9CAB55B8-171B-4F1C-833B-2E4E8489F7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000" y="250825"/>
            <a:ext cx="6948000" cy="576263"/>
          </a:xfrm>
        </p:spPr>
        <p:txBody>
          <a:bodyPr tIns="0" bIns="0" anchor="t" anchorCtr="0"/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r>
              <a:rPr lang="en-GB" dirty="0"/>
              <a:t>Click to add ti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113E86-62B0-4A42-8910-20CA5360F85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205666D4-E47D-460B-925A-31156247E70D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881767-1FB6-446D-91F4-4B622059F5E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CE278556-6C06-4435-A2AE-EA25A1568A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1AC19423-0B5F-4075-BF2C-917496EB3979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4706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250825"/>
            <a:ext cx="6948000" cy="3542675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F9D778-5323-4710-AF37-B757018966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51926BF0-9767-4B1B-98C7-33F2BA3F2252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9412F9-6B5D-4840-B0BF-C93A26CF7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6201C7F1-CEFA-461D-821F-AB5BD61F2D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73ED603D-6388-4533-B1AD-A8A9B97A82B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7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light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0B4DB74D-201F-4D10-88F9-7058A4F6DAB5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34AB8DD2-BA18-481C-B2B2-070E0605BDA0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A29CC775-EF9B-4EFE-84DC-55B293A21D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light picture or click on frame and insert picture via Templafy Images</a:t>
            </a:r>
          </a:p>
        </p:txBody>
      </p:sp>
      <p:sp>
        <p:nvSpPr>
          <p:cNvPr id="21" name="Text Placeholder logo">
            <a:extLst>
              <a:ext uri="{FF2B5EF4-FFF2-40B4-BE49-F238E27FC236}">
                <a16:creationId xmlns:a16="http://schemas.microsoft.com/office/drawing/2014/main" id="{233F969C-C7AD-4BCC-B5FD-087EAB2C46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B7313BF7-268E-4A91-B54E-60227221E9C8}" type="datetime4">
              <a:rPr lang="en-GB" smtClean="0"/>
              <a:t>19 October 20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970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6.xml"/><Relationship Id="rId47" Type="http://schemas.openxmlformats.org/officeDocument/2006/relationships/tags" Target="../tags/tag11.xml"/><Relationship Id="rId50" Type="http://schemas.openxmlformats.org/officeDocument/2006/relationships/tags" Target="../tags/tag14.xml"/><Relationship Id="rId55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tags" Target="../tags/tag4.xml"/><Relationship Id="rId45" Type="http://schemas.openxmlformats.org/officeDocument/2006/relationships/tags" Target="../tags/tag9.xml"/><Relationship Id="rId53" Type="http://schemas.openxmlformats.org/officeDocument/2006/relationships/tags" Target="../tags/tag17.xml"/><Relationship Id="rId58" Type="http://schemas.openxmlformats.org/officeDocument/2006/relationships/tags" Target="../tags/tag22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7.xml"/><Relationship Id="rId48" Type="http://schemas.openxmlformats.org/officeDocument/2006/relationships/tags" Target="../tags/tag12.xml"/><Relationship Id="rId56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5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46" Type="http://schemas.openxmlformats.org/officeDocument/2006/relationships/tags" Target="../tags/tag10.xml"/><Relationship Id="rId59" Type="http://schemas.openxmlformats.org/officeDocument/2006/relationships/image" Target="../media/image1.png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5.xml"/><Relationship Id="rId54" Type="http://schemas.openxmlformats.org/officeDocument/2006/relationships/tags" Target="../tags/tag1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13.xml"/><Relationship Id="rId57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8.xml"/><Relationship Id="rId52" Type="http://schemas.openxmlformats.org/officeDocument/2006/relationships/tags" Target="../tags/tag16.xml"/><Relationship Id="rId60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029599"/>
            <a:ext cx="8280000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5BBB29C-AF5D-474D-8DC6-C992E73BDC22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618018-A126-4E13-B4A2-591A064ED4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57200" y="4806187"/>
            <a:ext cx="6156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fld id="{E23CDC02-9845-4C21-A19F-949CB00D74DD}" type="datetime4">
              <a:rPr lang="en-GB" smtClean="0"/>
              <a:t>19 October 2021</a:t>
            </a:fld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6C61017-E9EE-48D0-B222-079BF55D5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21200" y="4806187"/>
            <a:ext cx="1800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dirty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grpSp>
        <p:nvGrpSpPr>
          <p:cNvPr id="8" name="Harvey 8" hidden="1">
            <a:extLst>
              <a:ext uri="{FF2B5EF4-FFF2-40B4-BE49-F238E27FC236}">
                <a16:creationId xmlns:a16="http://schemas.microsoft.com/office/drawing/2014/main" id="{B5C3E6DC-9028-49BB-B3A7-9838BAB4A3C2}"/>
              </a:ext>
            </a:extLst>
          </p:cNvPr>
          <p:cNvGrpSpPr>
            <a:grpSpLocks/>
          </p:cNvGrpSpPr>
          <p:nvPr userDrawn="1">
            <p:custDataLst>
              <p:tags r:id="rId38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10" name="Harvey 0/8 [0]">
              <a:extLst>
                <a:ext uri="{FF2B5EF4-FFF2-40B4-BE49-F238E27FC236}">
                  <a16:creationId xmlns:a16="http://schemas.microsoft.com/office/drawing/2014/main" id="{D73F2B36-99AF-452E-A4CE-30A82C0E46EF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3" name="Harvey 1/8 [1]">
              <a:extLst>
                <a:ext uri="{FF2B5EF4-FFF2-40B4-BE49-F238E27FC236}">
                  <a16:creationId xmlns:a16="http://schemas.microsoft.com/office/drawing/2014/main" id="{E76D02E5-0569-48CE-BCC2-CF833134036C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Harvey 2/8 [2]">
              <a:extLst>
                <a:ext uri="{FF2B5EF4-FFF2-40B4-BE49-F238E27FC236}">
                  <a16:creationId xmlns:a16="http://schemas.microsoft.com/office/drawing/2014/main" id="{F7403225-3E54-4050-8105-58E800163853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5" name="Harvey 3/8 [3]">
              <a:extLst>
                <a:ext uri="{FF2B5EF4-FFF2-40B4-BE49-F238E27FC236}">
                  <a16:creationId xmlns:a16="http://schemas.microsoft.com/office/drawing/2014/main" id="{A3824D64-51BD-49DE-BBA9-3A7E20B6467B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6" name="Harvey 4/8 [4]">
              <a:extLst>
                <a:ext uri="{FF2B5EF4-FFF2-40B4-BE49-F238E27FC236}">
                  <a16:creationId xmlns:a16="http://schemas.microsoft.com/office/drawing/2014/main" id="{39D19455-DC99-4361-9ACB-F108ED0581AF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7" name="Harvey 5/8 [5]">
              <a:extLst>
                <a:ext uri="{FF2B5EF4-FFF2-40B4-BE49-F238E27FC236}">
                  <a16:creationId xmlns:a16="http://schemas.microsoft.com/office/drawing/2014/main" id="{DD06353C-A97B-4A96-8304-54F233F832E4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8" name="Harvey 6/8 [6]">
              <a:extLst>
                <a:ext uri="{FF2B5EF4-FFF2-40B4-BE49-F238E27FC236}">
                  <a16:creationId xmlns:a16="http://schemas.microsoft.com/office/drawing/2014/main" id="{9E343501-3E40-406B-8018-8649EB8FA51C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9" name="Harvey 7/8 [7]">
              <a:extLst>
                <a:ext uri="{FF2B5EF4-FFF2-40B4-BE49-F238E27FC236}">
                  <a16:creationId xmlns:a16="http://schemas.microsoft.com/office/drawing/2014/main" id="{8F4C5207-5473-4EF0-BD4D-341E98E5C589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0" name="Harvey 8/8 [8]">
              <a:extLst>
                <a:ext uri="{FF2B5EF4-FFF2-40B4-BE49-F238E27FC236}">
                  <a16:creationId xmlns:a16="http://schemas.microsoft.com/office/drawing/2014/main" id="{7422FA6C-8552-471A-B0EB-0F92F10332BC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Harvey 4" hidden="1">
            <a:extLst>
              <a:ext uri="{FF2B5EF4-FFF2-40B4-BE49-F238E27FC236}">
                <a16:creationId xmlns:a16="http://schemas.microsoft.com/office/drawing/2014/main" id="{413A4284-8E26-4668-AF73-C488D2680E2F}"/>
              </a:ext>
            </a:extLst>
          </p:cNvPr>
          <p:cNvGrpSpPr>
            <a:grpSpLocks/>
          </p:cNvGrpSpPr>
          <p:nvPr userDrawn="1">
            <p:custDataLst>
              <p:tags r:id="rId39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2" name="Harvey 0/4 [0]">
              <a:extLst>
                <a:ext uri="{FF2B5EF4-FFF2-40B4-BE49-F238E27FC236}">
                  <a16:creationId xmlns:a16="http://schemas.microsoft.com/office/drawing/2014/main" id="{2BE1A3E0-EED3-45DD-807D-82037D3B4945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" name="Harvey 1/4 [1]">
              <a:extLst>
                <a:ext uri="{FF2B5EF4-FFF2-40B4-BE49-F238E27FC236}">
                  <a16:creationId xmlns:a16="http://schemas.microsoft.com/office/drawing/2014/main" id="{55524878-8D3A-4A68-90F5-C1C6AF43E446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4" name="Harvey 2/4 [2]">
              <a:extLst>
                <a:ext uri="{FF2B5EF4-FFF2-40B4-BE49-F238E27FC236}">
                  <a16:creationId xmlns:a16="http://schemas.microsoft.com/office/drawing/2014/main" id="{DBEAEB5F-E6DE-4E07-B114-F9A1E82C21A1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5" name="Harvey 3/4 [3]">
              <a:extLst>
                <a:ext uri="{FF2B5EF4-FFF2-40B4-BE49-F238E27FC236}">
                  <a16:creationId xmlns:a16="http://schemas.microsoft.com/office/drawing/2014/main" id="{F59A9C23-DDA2-4A9A-B41D-846ADBB21087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6" name="Harvey 4/4 [4]">
              <a:extLst>
                <a:ext uri="{FF2B5EF4-FFF2-40B4-BE49-F238E27FC236}">
                  <a16:creationId xmlns:a16="http://schemas.microsoft.com/office/drawing/2014/main" id="{144E6F3E-7AFB-4D14-8669-31C8DF74593C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Harvey 3" hidden="1">
            <a:extLst>
              <a:ext uri="{FF2B5EF4-FFF2-40B4-BE49-F238E27FC236}">
                <a16:creationId xmlns:a16="http://schemas.microsoft.com/office/drawing/2014/main" id="{B2986398-423E-40E4-B68A-4DA28DFDBC0E}"/>
              </a:ext>
            </a:extLst>
          </p:cNvPr>
          <p:cNvGrpSpPr>
            <a:grpSpLocks/>
          </p:cNvGrpSpPr>
          <p:nvPr userDrawn="1">
            <p:custDataLst>
              <p:tags r:id="rId40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8" name="Harvey 0/3 [0]">
              <a:extLst>
                <a:ext uri="{FF2B5EF4-FFF2-40B4-BE49-F238E27FC236}">
                  <a16:creationId xmlns:a16="http://schemas.microsoft.com/office/drawing/2014/main" id="{BF13D4D1-38BB-47B1-918E-B24CD24C6794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" name="Harvey 1/3 [1]">
              <a:extLst>
                <a:ext uri="{FF2B5EF4-FFF2-40B4-BE49-F238E27FC236}">
                  <a16:creationId xmlns:a16="http://schemas.microsoft.com/office/drawing/2014/main" id="{9B1A069F-AC5A-4A39-9A08-0B08F9DA5B68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0" name="Harvey 2/3 [2]">
              <a:extLst>
                <a:ext uri="{FF2B5EF4-FFF2-40B4-BE49-F238E27FC236}">
                  <a16:creationId xmlns:a16="http://schemas.microsoft.com/office/drawing/2014/main" id="{A727ACA9-73A3-4AC8-BFEF-EB8A2373640A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1" name="Harvey 3/3 [3]">
              <a:extLst>
                <a:ext uri="{FF2B5EF4-FFF2-40B4-BE49-F238E27FC236}">
                  <a16:creationId xmlns:a16="http://schemas.microsoft.com/office/drawing/2014/main" id="{30F9E70B-9B8F-455C-A9B1-FA09C6044BFF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41" name="Traffic lights Red" hidden="1">
            <a:extLst>
              <a:ext uri="{FF2B5EF4-FFF2-40B4-BE49-F238E27FC236}">
                <a16:creationId xmlns:a16="http://schemas.microsoft.com/office/drawing/2014/main" id="{D60F9D9B-EC56-49F4-8772-2D0653904A04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E85757"/>
          </a:solidFill>
          <a:ln>
            <a:solidFill>
              <a:srgbClr val="E8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2" name="Traffic lights Yellow" hidden="1">
            <a:extLst>
              <a:ext uri="{FF2B5EF4-FFF2-40B4-BE49-F238E27FC236}">
                <a16:creationId xmlns:a16="http://schemas.microsoft.com/office/drawing/2014/main" id="{AA0C3F70-A9D3-45D8-B045-61F08EAB5310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F3D779"/>
          </a:solidFill>
          <a:ln>
            <a:solidFill>
              <a:srgbClr val="F3D7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3" name="Traffic lights Green" hidden="1">
            <a:extLst>
              <a:ext uri="{FF2B5EF4-FFF2-40B4-BE49-F238E27FC236}">
                <a16:creationId xmlns:a16="http://schemas.microsoft.com/office/drawing/2014/main" id="{C90A57ED-36FE-46E1-AE9B-434A19EB85D6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8ECDC8"/>
          </a:solidFill>
          <a:ln>
            <a:solidFill>
              <a:srgbClr val="8ECD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32" name="Call out 1 [Sticker]" hidden="1">
            <a:extLst>
              <a:ext uri="{FF2B5EF4-FFF2-40B4-BE49-F238E27FC236}">
                <a16:creationId xmlns:a16="http://schemas.microsoft.com/office/drawing/2014/main" id="{B7DA51AC-55CB-4274-99F5-F4F49314FD0A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703942" cy="524295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2000" tIns="72000" rIns="72000" bIns="144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33" name="Call out 2 [Sticker]" hidden="1">
            <a:extLst>
              <a:ext uri="{FF2B5EF4-FFF2-40B4-BE49-F238E27FC236}">
                <a16:creationId xmlns:a16="http://schemas.microsoft.com/office/drawing/2014/main" id="{60D09F83-F724-4FAB-B781-E8292AEF07B4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472053" cy="9951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4" name="Call out 3 [Sticker]" hidden="1">
            <a:extLst>
              <a:ext uri="{FF2B5EF4-FFF2-40B4-BE49-F238E27FC236}">
                <a16:creationId xmlns:a16="http://schemas.microsoft.com/office/drawing/2014/main" id="{97B57B16-C10A-4201-8AC7-D97E350A6AFF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750706" cy="1183503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5" name="Call out 4 [Sticker]" hidden="1">
            <a:extLst>
              <a:ext uri="{FF2B5EF4-FFF2-40B4-BE49-F238E27FC236}">
                <a16:creationId xmlns:a16="http://schemas.microsoft.com/office/drawing/2014/main" id="{79ECB79A-60F9-4A61-AC9F-6FA204806232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2449329" cy="15926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32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6" name="Call out 5 [Sticker]" hidden="1">
            <a:extLst>
              <a:ext uri="{FF2B5EF4-FFF2-40B4-BE49-F238E27FC236}">
                <a16:creationId xmlns:a16="http://schemas.microsoft.com/office/drawing/2014/main" id="{EA30F7B7-8A62-4C5C-ABE3-57A7E8C4269E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4510861" cy="1440206"/>
          </a:xfrm>
          <a:custGeom>
            <a:avLst/>
            <a:gdLst>
              <a:gd name="connsiteX0" fmla="*/ 1428011 w 1642145"/>
              <a:gd name="connsiteY0" fmla="*/ 0 h 524296"/>
              <a:gd name="connsiteX1" fmla="*/ 1642145 w 1642145"/>
              <a:gd name="connsiteY1" fmla="*/ 215977 h 524296"/>
              <a:gd name="connsiteX2" fmla="*/ 1471167 w 1642145"/>
              <a:gd name="connsiteY2" fmla="*/ 427566 h 524296"/>
              <a:gd name="connsiteX3" fmla="*/ 1428657 w 1642145"/>
              <a:gd name="connsiteY3" fmla="*/ 431889 h 524296"/>
              <a:gd name="connsiteX4" fmla="*/ 1428657 w 1642145"/>
              <a:gd name="connsiteY4" fmla="*/ 431955 h 524296"/>
              <a:gd name="connsiteX5" fmla="*/ 492663 w 1642145"/>
              <a:gd name="connsiteY5" fmla="*/ 431955 h 524296"/>
              <a:gd name="connsiteX6" fmla="*/ 487573 w 1642145"/>
              <a:gd name="connsiteY6" fmla="*/ 432471 h 524296"/>
              <a:gd name="connsiteX7" fmla="*/ 237118 w 1642145"/>
              <a:gd name="connsiteY7" fmla="*/ 432471 h 524296"/>
              <a:gd name="connsiteX8" fmla="*/ 237118 w 1642145"/>
              <a:gd name="connsiteY8" fmla="*/ 524296 h 524296"/>
              <a:gd name="connsiteX9" fmla="*/ 0 w 1642145"/>
              <a:gd name="connsiteY9" fmla="*/ 262149 h 524296"/>
              <a:gd name="connsiteX10" fmla="*/ 237118 w 1642145"/>
              <a:gd name="connsiteY10" fmla="*/ 1 h 524296"/>
              <a:gd name="connsiteX11" fmla="*/ 487573 w 1642145"/>
              <a:gd name="connsiteY11" fmla="*/ 1 h 524296"/>
              <a:gd name="connsiteX12" fmla="*/ 493340 w 1642145"/>
              <a:gd name="connsiteY12" fmla="*/ 577 h 524296"/>
              <a:gd name="connsiteX13" fmla="*/ 1422336 w 1642145"/>
              <a:gd name="connsiteY13" fmla="*/ 577 h 52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42145" h="524296">
                <a:moveTo>
                  <a:pt x="1428011" y="0"/>
                </a:moveTo>
                <a:cubicBezTo>
                  <a:pt x="1546274" y="0"/>
                  <a:pt x="1642145" y="96696"/>
                  <a:pt x="1642145" y="215977"/>
                </a:cubicBezTo>
                <a:cubicBezTo>
                  <a:pt x="1642145" y="320348"/>
                  <a:pt x="1568744" y="407427"/>
                  <a:pt x="1471167" y="427566"/>
                </a:cubicBezTo>
                <a:lnTo>
                  <a:pt x="1428657" y="431889"/>
                </a:lnTo>
                <a:lnTo>
                  <a:pt x="1428657" y="431955"/>
                </a:lnTo>
                <a:lnTo>
                  <a:pt x="492663" y="431955"/>
                </a:lnTo>
                <a:lnTo>
                  <a:pt x="487573" y="432471"/>
                </a:lnTo>
                <a:cubicBezTo>
                  <a:pt x="487573" y="432471"/>
                  <a:pt x="487573" y="432471"/>
                  <a:pt x="237118" y="432471"/>
                </a:cubicBezTo>
                <a:cubicBezTo>
                  <a:pt x="237118" y="432471"/>
                  <a:pt x="237118" y="432471"/>
                  <a:pt x="237118" y="524296"/>
                </a:cubicBezTo>
                <a:cubicBezTo>
                  <a:pt x="105221" y="524296"/>
                  <a:pt x="0" y="407293"/>
                  <a:pt x="0" y="262149"/>
                </a:cubicBezTo>
                <a:cubicBezTo>
                  <a:pt x="0" y="117005"/>
                  <a:pt x="105221" y="1"/>
                  <a:pt x="237118" y="1"/>
                </a:cubicBezTo>
                <a:cubicBezTo>
                  <a:pt x="237118" y="1"/>
                  <a:pt x="237118" y="1"/>
                  <a:pt x="487573" y="1"/>
                </a:cubicBezTo>
                <a:lnTo>
                  <a:pt x="493340" y="577"/>
                </a:lnTo>
                <a:lnTo>
                  <a:pt x="1422336" y="57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2000" tIns="72000" rIns="72000" bIns="36000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lick to add text</a:t>
            </a:r>
          </a:p>
        </p:txBody>
      </p:sp>
      <p:sp>
        <p:nvSpPr>
          <p:cNvPr id="37" name="Comment box [Sticker]" hidden="1">
            <a:extLst>
              <a:ext uri="{FF2B5EF4-FFF2-40B4-BE49-F238E27FC236}">
                <a16:creationId xmlns:a16="http://schemas.microsoft.com/office/drawing/2014/main" id="{E2D24638-2C59-445A-A356-D83768687C04}"/>
              </a:ext>
            </a:extLst>
          </p:cNvPr>
          <p:cNvSpPr/>
          <p:nvPr userDrawn="1"/>
        </p:nvSpPr>
        <p:spPr>
          <a:xfrm>
            <a:off x="9214671" y="-30083"/>
            <a:ext cx="1687256" cy="576000"/>
          </a:xfrm>
          <a:prstGeom prst="roundRect">
            <a:avLst>
              <a:gd name="adj" fmla="val 0"/>
            </a:avLst>
          </a:prstGeom>
          <a:solidFill>
            <a:srgbClr val="FDD779">
              <a:alpha val="90000"/>
            </a:srgb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rgbClr val="FF0000"/>
                </a:solidFill>
              </a:rPr>
              <a:t>Comment box</a:t>
            </a:r>
            <a:endParaRPr lang="en-GB" sz="1000" noProof="0" dirty="0">
              <a:solidFill>
                <a:srgbClr val="FF0000"/>
              </a:solidFill>
            </a:endParaRPr>
          </a:p>
        </p:txBody>
      </p:sp>
      <p:sp>
        <p:nvSpPr>
          <p:cNvPr id="38" name="Preliminary [Sticker]" hidden="1">
            <a:extLst>
              <a:ext uri="{FF2B5EF4-FFF2-40B4-BE49-F238E27FC236}">
                <a16:creationId xmlns:a16="http://schemas.microsoft.com/office/drawing/2014/main" id="{E5C38300-1B57-4EFA-A738-56C162EEB378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Preliminary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39" name="For discussion [Sticker]" hidden="1">
            <a:extLst>
              <a:ext uri="{FF2B5EF4-FFF2-40B4-BE49-F238E27FC236}">
                <a16:creationId xmlns:a16="http://schemas.microsoft.com/office/drawing/2014/main" id="{ACC6C9F8-91DF-4DB0-8B38-437B2CABBB16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rgbClr val="E8575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For discussion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0" name="Illustrative [Sticker]" hidden="1">
            <a:extLst>
              <a:ext uri="{FF2B5EF4-FFF2-40B4-BE49-F238E27FC236}">
                <a16:creationId xmlns:a16="http://schemas.microsoft.com/office/drawing/2014/main" id="{08668850-F042-468B-9813-9A5B3CC938C5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Illustrative</a:t>
            </a:r>
            <a:endParaRPr lang="en-GB" sz="10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67" r:id="rId2"/>
    <p:sldLayoutId id="2147483768" r:id="rId3"/>
    <p:sldLayoutId id="2147483769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7" r:id="rId10"/>
    <p:sldLayoutId id="2147483772" r:id="rId11"/>
    <p:sldLayoutId id="2147483766" r:id="rId12"/>
    <p:sldLayoutId id="2147483728" r:id="rId13"/>
    <p:sldLayoutId id="2147483731" r:id="rId14"/>
    <p:sldLayoutId id="2147483737" r:id="rId15"/>
    <p:sldLayoutId id="2147483739" r:id="rId16"/>
    <p:sldLayoutId id="2147483736" r:id="rId17"/>
    <p:sldLayoutId id="2147483750" r:id="rId18"/>
    <p:sldLayoutId id="2147483734" r:id="rId19"/>
    <p:sldLayoutId id="2147483735" r:id="rId20"/>
    <p:sldLayoutId id="2147483771" r:id="rId21"/>
    <p:sldLayoutId id="2147483727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654" r:id="rId29"/>
    <p:sldLayoutId id="2147483655" r:id="rId30"/>
    <p:sldLayoutId id="2147483758" r:id="rId31"/>
    <p:sldLayoutId id="2147483759" r:id="rId32"/>
    <p:sldLayoutId id="2147483760" r:id="rId33"/>
    <p:sldLayoutId id="2147483761" r:id="rId34"/>
    <p:sldLayoutId id="2147483773" r:id="rId35"/>
    <p:sldLayoutId id="2147483774" r:id="rId36"/>
  </p:sldLayoutIdLst>
  <p:hf sldNum="0" hdr="0" ftr="0"/>
  <p:txStyles>
    <p:titleStyle>
      <a:lvl1pPr algn="l" defTabSz="685804" rtl="0" eaLnBrk="1" latinLnBrk="0" hangingPunct="1">
        <a:lnSpc>
          <a:spcPct val="95000"/>
        </a:lnSpc>
        <a:spcBef>
          <a:spcPct val="0"/>
        </a:spcBef>
        <a:buNone/>
        <a:defRPr sz="2000" b="1" i="0" kern="1200">
          <a:solidFill>
            <a:schemeClr val="accent1"/>
          </a:solidFill>
          <a:latin typeface="+mj-lt"/>
          <a:ea typeface="+mj-ea"/>
          <a:cs typeface="Arial" panose="020B0604020202020204" pitchFamily="34" charset="0"/>
          <a:sym typeface="Orsted Sans Office" panose="00000500000000000000" pitchFamily="2" charset="0"/>
        </a:defRPr>
      </a:lvl1pPr>
    </p:titleStyle>
    <p:bodyStyle>
      <a:lvl1pPr marL="216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b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1pPr>
      <a:lvl2pPr marL="432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2pPr>
      <a:lvl3pPr marL="648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3pPr>
      <a:lvl4pPr marL="864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4pPr>
      <a:lvl5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5pPr>
      <a:lvl6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baseline="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4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7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9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11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1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16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18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873" userDrawn="1">
          <p15:clr>
            <a:srgbClr val="F26B43"/>
          </p15:clr>
        </p15:guide>
        <p15:guide id="4" orient="horz" pos="3104" userDrawn="1">
          <p15:clr>
            <a:srgbClr val="F26B43"/>
          </p15:clr>
        </p15:guide>
        <p15:guide id="5" pos="272" userDrawn="1">
          <p15:clr>
            <a:srgbClr val="F26B43"/>
          </p15:clr>
        </p15:guide>
        <p15:guide id="7" orient="horz" pos="647" userDrawn="1">
          <p15:clr>
            <a:srgbClr val="F26B43"/>
          </p15:clr>
        </p15:guide>
        <p15:guide id="8" orient="horz" pos="2803" userDrawn="1">
          <p15:clr>
            <a:srgbClr val="F26B43"/>
          </p15:clr>
        </p15:guide>
        <p15:guide id="9" pos="5487" userDrawn="1">
          <p15:clr>
            <a:srgbClr val="F26B43"/>
          </p15:clr>
        </p15:guide>
        <p15:guide id="10" orient="horz" pos="158" userDrawn="1">
          <p15:clr>
            <a:srgbClr val="F26B43"/>
          </p15:clr>
        </p15:guide>
        <p15:guide id="11" orient="horz" pos="52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26.xml"/><Relationship Id="rId4" Type="http://schemas.openxmlformats.org/officeDocument/2006/relationships/image" Target="../media/image21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246144F-B47F-4776-B702-44E5D01908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0" dirty="0"/>
              <a:t>The Past, Present, and Future of Offshore Wind</a:t>
            </a:r>
            <a:endParaRPr lang="en-GB" sz="4400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336CE5B1-A935-4461-BDC8-98F51AA279B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abin Center for Climate Change Law Webinar</a:t>
            </a:r>
          </a:p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41138-A68D-4DD9-A6F6-2EA9043A07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Bryan Stockton</a:t>
            </a:r>
          </a:p>
          <a:p>
            <a:r>
              <a:rPr lang="en-GB" b="0" dirty="0"/>
              <a:t>Head of Regulatory Affair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73F1CF-EB3C-4027-8AD2-851F42F864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</p:spPr>
        <p:txBody>
          <a:bodyPr/>
          <a:lstStyle/>
          <a:p>
            <a:r>
              <a:rPr lang="en-GB" dirty="0"/>
              <a:t>October 19, 202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48764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8EA5DBE-470A-421E-A0C4-C23F1870DE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8EA5DBE-470A-421E-A0C4-C23F1870D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12EC3B02-722A-4577-A3F8-C27ABD673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Ørsted Offshore North America portfolio</a:t>
            </a:r>
            <a:br>
              <a:rPr lang="en-US" dirty="0"/>
            </a:br>
            <a:r>
              <a:rPr lang="en-US" b="0" dirty="0"/>
              <a:t>Awarded over 4,000 MW of offshore capacity on the East coast</a:t>
            </a:r>
            <a:endParaRPr lang="en-GB" b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2532ED-561B-4729-825F-EB863533FBD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66FCFD6-362D-4B5B-802B-C4D5F64149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3780" y="1619250"/>
            <a:ext cx="5138220" cy="1905000"/>
          </a:xfrm>
        </p:spPr>
        <p:txBody>
          <a:bodyPr/>
          <a:lstStyle/>
          <a:p>
            <a:pPr marL="0" indent="0">
              <a:buNone/>
            </a:pPr>
            <a:r>
              <a:rPr lang="en-GB" b="1" dirty="0"/>
              <a:t>In Operation</a:t>
            </a:r>
          </a:p>
          <a:p>
            <a:pPr marL="216000" lvl="1" indent="0">
              <a:buNone/>
            </a:pPr>
            <a:r>
              <a:rPr lang="en-GB" b="1" dirty="0"/>
              <a:t>Block Island Wind Farm: </a:t>
            </a:r>
            <a:r>
              <a:rPr lang="en-GB" dirty="0"/>
              <a:t>30MW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b="1" dirty="0">
                <a:solidFill>
                  <a:schemeClr val="accent2"/>
                </a:solidFill>
              </a:rPr>
              <a:t>Awarded</a:t>
            </a:r>
          </a:p>
          <a:p>
            <a:pPr marL="216000" lvl="1" indent="0">
              <a:buNone/>
            </a:pPr>
            <a:r>
              <a:rPr lang="en-GB" b="1" dirty="0"/>
              <a:t>Revolution Wind: </a:t>
            </a:r>
            <a:r>
              <a:rPr lang="en-GB" dirty="0"/>
              <a:t>50/50 JV w/ Eversource, 704MW (400MW to RI, 304MW to CT)</a:t>
            </a:r>
          </a:p>
          <a:p>
            <a:pPr marL="216000" lvl="1" indent="0">
              <a:buNone/>
            </a:pPr>
            <a:r>
              <a:rPr lang="en-GB" b="1" dirty="0"/>
              <a:t>South Fork Wind: </a:t>
            </a:r>
            <a:r>
              <a:rPr lang="en-GB" dirty="0"/>
              <a:t>50/50 JV w/ Eversource, 132MW</a:t>
            </a:r>
          </a:p>
          <a:p>
            <a:pPr marL="216000" lvl="1" indent="0">
              <a:buNone/>
            </a:pPr>
            <a:r>
              <a:rPr lang="en-GB" b="1" dirty="0"/>
              <a:t>Sunrise Wind: </a:t>
            </a:r>
            <a:r>
              <a:rPr lang="en-GB" dirty="0"/>
              <a:t>50/50 JV w/ Eversource, approximately 924MW</a:t>
            </a:r>
          </a:p>
          <a:p>
            <a:pPr marL="216000" lvl="1" indent="0">
              <a:buNone/>
            </a:pPr>
            <a:r>
              <a:rPr lang="en-GB" b="1" dirty="0"/>
              <a:t>Ocean Wind 1: </a:t>
            </a:r>
            <a:r>
              <a:rPr lang="en-GB" dirty="0"/>
              <a:t>75/25 JV with PSEG, 1,100MW</a:t>
            </a:r>
          </a:p>
          <a:p>
            <a:pPr marL="216000" lvl="1" indent="0">
              <a:buNone/>
            </a:pPr>
            <a:r>
              <a:rPr lang="en-GB" b="1" dirty="0"/>
              <a:t>Ocean Wind 2: </a:t>
            </a:r>
            <a:r>
              <a:rPr lang="en-GB" dirty="0"/>
              <a:t>1,148MW</a:t>
            </a:r>
          </a:p>
          <a:p>
            <a:pPr marL="216000" lvl="1" indent="0">
              <a:buNone/>
            </a:pPr>
            <a:r>
              <a:rPr lang="en-GB" b="1" dirty="0"/>
              <a:t>Skipjack Wind 1: </a:t>
            </a:r>
            <a:r>
              <a:rPr lang="en-GB" dirty="0"/>
              <a:t>120MW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EE1D6392-864A-45B8-9D79-DD83A041694F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6564302" y="4790003"/>
            <a:ext cx="808498" cy="138606"/>
          </a:xfrm>
        </p:spPr>
        <p:txBody>
          <a:bodyPr/>
          <a:lstStyle/>
          <a:p>
            <a:pPr>
              <a:lnSpc>
                <a:spcPct val="95000"/>
              </a:lnSpc>
            </a:pPr>
            <a:r>
              <a:rPr lang="en-GB" dirty="0"/>
              <a:t>October 19, 2021</a:t>
            </a:r>
          </a:p>
        </p:txBody>
      </p:sp>
    </p:spTree>
    <p:extLst>
      <p:ext uri="{BB962C8B-B14F-4D97-AF65-F5344CB8AC3E}">
        <p14:creationId xmlns:p14="http://schemas.microsoft.com/office/powerpoint/2010/main" val="27757323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10" name="Group 1600">
            <a:extLst>
              <a:ext uri="{FF2B5EF4-FFF2-40B4-BE49-F238E27FC236}">
                <a16:creationId xmlns:a16="http://schemas.microsoft.com/office/drawing/2014/main" id="{B51B39ED-F3BB-4781-B80C-E7559635344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-1373188" y="-1316038"/>
            <a:ext cx="6140451" cy="7131050"/>
            <a:chOff x="-865" y="-829"/>
            <a:chExt cx="3868" cy="4492"/>
          </a:xfrm>
        </p:grpSpPr>
        <p:sp>
          <p:nvSpPr>
            <p:cNvPr id="1612" name="Rectangle 1601">
              <a:extLst>
                <a:ext uri="{FF2B5EF4-FFF2-40B4-BE49-F238E27FC236}">
                  <a16:creationId xmlns:a16="http://schemas.microsoft.com/office/drawing/2014/main" id="{30329ECE-939C-49F4-AF6A-01BFB776D0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" y="1753"/>
              <a:ext cx="58" cy="75"/>
            </a:xfrm>
            <a:prstGeom prst="rect">
              <a:avLst/>
            </a:prstGeom>
            <a:solidFill>
              <a:srgbClr val="ECE8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3" name="Freeform 1602">
              <a:extLst>
                <a:ext uri="{FF2B5EF4-FFF2-40B4-BE49-F238E27FC236}">
                  <a16:creationId xmlns:a16="http://schemas.microsoft.com/office/drawing/2014/main" id="{4EA6A67B-CAFE-42A1-BE0E-6FA3EE830E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11" y="881"/>
              <a:ext cx="168" cy="205"/>
            </a:xfrm>
            <a:custGeom>
              <a:avLst/>
              <a:gdLst>
                <a:gd name="T0" fmla="*/ 161 w 168"/>
                <a:gd name="T1" fmla="*/ 105 h 205"/>
                <a:gd name="T2" fmla="*/ 149 w 168"/>
                <a:gd name="T3" fmla="*/ 100 h 205"/>
                <a:gd name="T4" fmla="*/ 149 w 168"/>
                <a:gd name="T5" fmla="*/ 165 h 205"/>
                <a:gd name="T6" fmla="*/ 168 w 168"/>
                <a:gd name="T7" fmla="*/ 155 h 205"/>
                <a:gd name="T8" fmla="*/ 161 w 168"/>
                <a:gd name="T9" fmla="*/ 105 h 205"/>
                <a:gd name="T10" fmla="*/ 133 w 168"/>
                <a:gd name="T11" fmla="*/ 77 h 205"/>
                <a:gd name="T12" fmla="*/ 122 w 168"/>
                <a:gd name="T13" fmla="*/ 71 h 205"/>
                <a:gd name="T14" fmla="*/ 116 w 168"/>
                <a:gd name="T15" fmla="*/ 67 h 205"/>
                <a:gd name="T16" fmla="*/ 116 w 168"/>
                <a:gd name="T17" fmla="*/ 58 h 205"/>
                <a:gd name="T18" fmla="*/ 119 w 168"/>
                <a:gd name="T19" fmla="*/ 45 h 205"/>
                <a:gd name="T20" fmla="*/ 116 w 168"/>
                <a:gd name="T21" fmla="*/ 41 h 205"/>
                <a:gd name="T22" fmla="*/ 119 w 168"/>
                <a:gd name="T23" fmla="*/ 33 h 205"/>
                <a:gd name="T24" fmla="*/ 108 w 168"/>
                <a:gd name="T25" fmla="*/ 38 h 205"/>
                <a:gd name="T26" fmla="*/ 108 w 168"/>
                <a:gd name="T27" fmla="*/ 9 h 205"/>
                <a:gd name="T28" fmla="*/ 110 w 168"/>
                <a:gd name="T29" fmla="*/ 0 h 205"/>
                <a:gd name="T30" fmla="*/ 83 w 168"/>
                <a:gd name="T31" fmla="*/ 0 h 205"/>
                <a:gd name="T32" fmla="*/ 14 w 168"/>
                <a:gd name="T33" fmla="*/ 2 h 205"/>
                <a:gd name="T34" fmla="*/ 19 w 168"/>
                <a:gd name="T35" fmla="*/ 86 h 205"/>
                <a:gd name="T36" fmla="*/ 17 w 168"/>
                <a:gd name="T37" fmla="*/ 110 h 205"/>
                <a:gd name="T38" fmla="*/ 17 w 168"/>
                <a:gd name="T39" fmla="*/ 122 h 205"/>
                <a:gd name="T40" fmla="*/ 14 w 168"/>
                <a:gd name="T41" fmla="*/ 177 h 205"/>
                <a:gd name="T42" fmla="*/ 5 w 168"/>
                <a:gd name="T43" fmla="*/ 182 h 205"/>
                <a:gd name="T44" fmla="*/ 8 w 168"/>
                <a:gd name="T45" fmla="*/ 201 h 205"/>
                <a:gd name="T46" fmla="*/ 5 w 168"/>
                <a:gd name="T47" fmla="*/ 204 h 205"/>
                <a:gd name="T48" fmla="*/ 0 w 168"/>
                <a:gd name="T49" fmla="*/ 205 h 205"/>
                <a:gd name="T50" fmla="*/ 31 w 168"/>
                <a:gd name="T51" fmla="*/ 204 h 205"/>
                <a:gd name="T52" fmla="*/ 85 w 168"/>
                <a:gd name="T53" fmla="*/ 185 h 205"/>
                <a:gd name="T54" fmla="*/ 97 w 168"/>
                <a:gd name="T55" fmla="*/ 157 h 205"/>
                <a:gd name="T56" fmla="*/ 100 w 168"/>
                <a:gd name="T57" fmla="*/ 107 h 205"/>
                <a:gd name="T58" fmla="*/ 111 w 168"/>
                <a:gd name="T59" fmla="*/ 92 h 205"/>
                <a:gd name="T60" fmla="*/ 105 w 168"/>
                <a:gd name="T61" fmla="*/ 75 h 205"/>
                <a:gd name="T62" fmla="*/ 111 w 168"/>
                <a:gd name="T63" fmla="*/ 82 h 205"/>
                <a:gd name="T64" fmla="*/ 130 w 168"/>
                <a:gd name="T65" fmla="*/ 97 h 205"/>
                <a:gd name="T66" fmla="*/ 141 w 168"/>
                <a:gd name="T67" fmla="*/ 91 h 205"/>
                <a:gd name="T68" fmla="*/ 133 w 168"/>
                <a:gd name="T69" fmla="*/ 77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8" h="205">
                  <a:moveTo>
                    <a:pt x="161" y="105"/>
                  </a:moveTo>
                  <a:lnTo>
                    <a:pt x="149" y="100"/>
                  </a:lnTo>
                  <a:lnTo>
                    <a:pt x="149" y="165"/>
                  </a:lnTo>
                  <a:lnTo>
                    <a:pt x="168" y="155"/>
                  </a:lnTo>
                  <a:lnTo>
                    <a:pt x="161" y="105"/>
                  </a:lnTo>
                  <a:close/>
                  <a:moveTo>
                    <a:pt x="133" y="77"/>
                  </a:moveTo>
                  <a:lnTo>
                    <a:pt x="122" y="71"/>
                  </a:lnTo>
                  <a:lnTo>
                    <a:pt x="116" y="67"/>
                  </a:lnTo>
                  <a:lnTo>
                    <a:pt x="116" y="58"/>
                  </a:lnTo>
                  <a:lnTo>
                    <a:pt x="119" y="45"/>
                  </a:lnTo>
                  <a:lnTo>
                    <a:pt x="116" y="41"/>
                  </a:lnTo>
                  <a:lnTo>
                    <a:pt x="119" y="33"/>
                  </a:lnTo>
                  <a:lnTo>
                    <a:pt x="108" y="38"/>
                  </a:lnTo>
                  <a:lnTo>
                    <a:pt x="108" y="9"/>
                  </a:lnTo>
                  <a:lnTo>
                    <a:pt x="110" y="0"/>
                  </a:lnTo>
                  <a:lnTo>
                    <a:pt x="83" y="0"/>
                  </a:lnTo>
                  <a:lnTo>
                    <a:pt x="14" y="2"/>
                  </a:lnTo>
                  <a:lnTo>
                    <a:pt x="19" y="86"/>
                  </a:lnTo>
                  <a:lnTo>
                    <a:pt x="17" y="110"/>
                  </a:lnTo>
                  <a:lnTo>
                    <a:pt x="17" y="122"/>
                  </a:lnTo>
                  <a:lnTo>
                    <a:pt x="14" y="177"/>
                  </a:lnTo>
                  <a:lnTo>
                    <a:pt x="5" y="182"/>
                  </a:lnTo>
                  <a:lnTo>
                    <a:pt x="8" y="201"/>
                  </a:lnTo>
                  <a:lnTo>
                    <a:pt x="5" y="204"/>
                  </a:lnTo>
                  <a:lnTo>
                    <a:pt x="0" y="205"/>
                  </a:lnTo>
                  <a:lnTo>
                    <a:pt x="31" y="204"/>
                  </a:lnTo>
                  <a:lnTo>
                    <a:pt x="85" y="185"/>
                  </a:lnTo>
                  <a:lnTo>
                    <a:pt x="97" y="157"/>
                  </a:lnTo>
                  <a:lnTo>
                    <a:pt x="100" y="107"/>
                  </a:lnTo>
                  <a:lnTo>
                    <a:pt x="111" y="92"/>
                  </a:lnTo>
                  <a:lnTo>
                    <a:pt x="105" y="75"/>
                  </a:lnTo>
                  <a:lnTo>
                    <a:pt x="111" y="82"/>
                  </a:lnTo>
                  <a:lnTo>
                    <a:pt x="130" y="97"/>
                  </a:lnTo>
                  <a:lnTo>
                    <a:pt x="141" y="91"/>
                  </a:lnTo>
                  <a:lnTo>
                    <a:pt x="133" y="77"/>
                  </a:lnTo>
                  <a:close/>
                </a:path>
              </a:pathLst>
            </a:custGeom>
            <a:solidFill>
              <a:srgbClr val="ECE8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4" name="Freeform 1603">
              <a:extLst>
                <a:ext uri="{FF2B5EF4-FFF2-40B4-BE49-F238E27FC236}">
                  <a16:creationId xmlns:a16="http://schemas.microsoft.com/office/drawing/2014/main" id="{F75328A9-C0A6-418C-9BAB-D424C1A70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" y="-39"/>
              <a:ext cx="1760" cy="1367"/>
            </a:xfrm>
            <a:custGeom>
              <a:avLst/>
              <a:gdLst>
                <a:gd name="T0" fmla="*/ 1269 w 1760"/>
                <a:gd name="T1" fmla="*/ 1324 h 1367"/>
                <a:gd name="T2" fmla="*/ 1232 w 1760"/>
                <a:gd name="T3" fmla="*/ 1367 h 1367"/>
                <a:gd name="T4" fmla="*/ 1497 w 1760"/>
                <a:gd name="T5" fmla="*/ 1317 h 1367"/>
                <a:gd name="T6" fmla="*/ 1561 w 1760"/>
                <a:gd name="T7" fmla="*/ 1293 h 1367"/>
                <a:gd name="T8" fmla="*/ 1442 w 1760"/>
                <a:gd name="T9" fmla="*/ 1331 h 1367"/>
                <a:gd name="T10" fmla="*/ 1337 w 1760"/>
                <a:gd name="T11" fmla="*/ 1329 h 1367"/>
                <a:gd name="T12" fmla="*/ 1283 w 1760"/>
                <a:gd name="T13" fmla="*/ 1343 h 1367"/>
                <a:gd name="T14" fmla="*/ 1338 w 1760"/>
                <a:gd name="T15" fmla="*/ 1284 h 1367"/>
                <a:gd name="T16" fmla="*/ 1410 w 1760"/>
                <a:gd name="T17" fmla="*/ 1243 h 1367"/>
                <a:gd name="T18" fmla="*/ 1589 w 1760"/>
                <a:gd name="T19" fmla="*/ 1226 h 1367"/>
                <a:gd name="T20" fmla="*/ 1638 w 1760"/>
                <a:gd name="T21" fmla="*/ 1213 h 1367"/>
                <a:gd name="T22" fmla="*/ 1664 w 1760"/>
                <a:gd name="T23" fmla="*/ 1213 h 1367"/>
                <a:gd name="T24" fmla="*/ 1760 w 1760"/>
                <a:gd name="T25" fmla="*/ 1197 h 1367"/>
                <a:gd name="T26" fmla="*/ 1338 w 1760"/>
                <a:gd name="T27" fmla="*/ 1340 h 1367"/>
                <a:gd name="T28" fmla="*/ 139 w 1760"/>
                <a:gd name="T29" fmla="*/ 749 h 1367"/>
                <a:gd name="T30" fmla="*/ 195 w 1760"/>
                <a:gd name="T31" fmla="*/ 614 h 1367"/>
                <a:gd name="T32" fmla="*/ 155 w 1760"/>
                <a:gd name="T33" fmla="*/ 539 h 1367"/>
                <a:gd name="T34" fmla="*/ 487 w 1760"/>
                <a:gd name="T35" fmla="*/ 547 h 1367"/>
                <a:gd name="T36" fmla="*/ 678 w 1760"/>
                <a:gd name="T37" fmla="*/ 522 h 1367"/>
                <a:gd name="T38" fmla="*/ 797 w 1760"/>
                <a:gd name="T39" fmla="*/ 428 h 1367"/>
                <a:gd name="T40" fmla="*/ 810 w 1760"/>
                <a:gd name="T41" fmla="*/ 334 h 1367"/>
                <a:gd name="T42" fmla="*/ 758 w 1760"/>
                <a:gd name="T43" fmla="*/ 284 h 1367"/>
                <a:gd name="T44" fmla="*/ 1069 w 1760"/>
                <a:gd name="T45" fmla="*/ 16 h 1367"/>
                <a:gd name="T46" fmla="*/ 1429 w 1760"/>
                <a:gd name="T47" fmla="*/ 6 h 1367"/>
                <a:gd name="T48" fmla="*/ 1434 w 1760"/>
                <a:gd name="T49" fmla="*/ 64 h 1367"/>
                <a:gd name="T50" fmla="*/ 1424 w 1760"/>
                <a:gd name="T51" fmla="*/ 116 h 1367"/>
                <a:gd name="T52" fmla="*/ 1434 w 1760"/>
                <a:gd name="T53" fmla="*/ 143 h 1367"/>
                <a:gd name="T54" fmla="*/ 1439 w 1760"/>
                <a:gd name="T55" fmla="*/ 232 h 1367"/>
                <a:gd name="T56" fmla="*/ 1417 w 1760"/>
                <a:gd name="T57" fmla="*/ 279 h 1367"/>
                <a:gd name="T58" fmla="*/ 1415 w 1760"/>
                <a:gd name="T59" fmla="*/ 317 h 1367"/>
                <a:gd name="T60" fmla="*/ 1428 w 1760"/>
                <a:gd name="T61" fmla="*/ 382 h 1367"/>
                <a:gd name="T62" fmla="*/ 1415 w 1760"/>
                <a:gd name="T63" fmla="*/ 442 h 1367"/>
                <a:gd name="T64" fmla="*/ 1442 w 1760"/>
                <a:gd name="T65" fmla="*/ 431 h 1367"/>
                <a:gd name="T66" fmla="*/ 1454 w 1760"/>
                <a:gd name="T67" fmla="*/ 462 h 1367"/>
                <a:gd name="T68" fmla="*/ 1442 w 1760"/>
                <a:gd name="T69" fmla="*/ 680 h 1367"/>
                <a:gd name="T70" fmla="*/ 1396 w 1760"/>
                <a:gd name="T71" fmla="*/ 901 h 1367"/>
                <a:gd name="T72" fmla="*/ 1387 w 1760"/>
                <a:gd name="T73" fmla="*/ 1113 h 1367"/>
                <a:gd name="T74" fmla="*/ 1362 w 1760"/>
                <a:gd name="T75" fmla="*/ 1216 h 1367"/>
                <a:gd name="T76" fmla="*/ 1304 w 1760"/>
                <a:gd name="T77" fmla="*/ 1279 h 1367"/>
                <a:gd name="T78" fmla="*/ 1301 w 1760"/>
                <a:gd name="T79" fmla="*/ 1254 h 1367"/>
                <a:gd name="T80" fmla="*/ 1236 w 1760"/>
                <a:gd name="T81" fmla="*/ 1185 h 1367"/>
                <a:gd name="T82" fmla="*/ 1127 w 1760"/>
                <a:gd name="T83" fmla="*/ 1108 h 1367"/>
                <a:gd name="T84" fmla="*/ 1108 w 1760"/>
                <a:gd name="T85" fmla="*/ 1094 h 1367"/>
                <a:gd name="T86" fmla="*/ 1076 w 1760"/>
                <a:gd name="T87" fmla="*/ 1077 h 1367"/>
                <a:gd name="T88" fmla="*/ 1045 w 1760"/>
                <a:gd name="T89" fmla="*/ 1041 h 1367"/>
                <a:gd name="T90" fmla="*/ 1050 w 1760"/>
                <a:gd name="T91" fmla="*/ 1005 h 1367"/>
                <a:gd name="T92" fmla="*/ 1044 w 1760"/>
                <a:gd name="T93" fmla="*/ 978 h 1367"/>
                <a:gd name="T94" fmla="*/ 1023 w 1760"/>
                <a:gd name="T95" fmla="*/ 962 h 1367"/>
                <a:gd name="T96" fmla="*/ 986 w 1760"/>
                <a:gd name="T97" fmla="*/ 925 h 1367"/>
                <a:gd name="T98" fmla="*/ 807 w 1760"/>
                <a:gd name="T99" fmla="*/ 923 h 1367"/>
                <a:gd name="T100" fmla="*/ 479 w 1760"/>
                <a:gd name="T101" fmla="*/ 923 h 1367"/>
                <a:gd name="T102" fmla="*/ 188 w 1760"/>
                <a:gd name="T103" fmla="*/ 923 h 1367"/>
                <a:gd name="T104" fmla="*/ 0 w 1760"/>
                <a:gd name="T105" fmla="*/ 842 h 1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760" h="1367">
                  <a:moveTo>
                    <a:pt x="1232" y="1367"/>
                  </a:moveTo>
                  <a:lnTo>
                    <a:pt x="1232" y="1357"/>
                  </a:lnTo>
                  <a:lnTo>
                    <a:pt x="1247" y="1331"/>
                  </a:lnTo>
                  <a:lnTo>
                    <a:pt x="1269" y="1324"/>
                  </a:lnTo>
                  <a:lnTo>
                    <a:pt x="1271" y="1339"/>
                  </a:lnTo>
                  <a:lnTo>
                    <a:pt x="1258" y="1354"/>
                  </a:lnTo>
                  <a:lnTo>
                    <a:pt x="1241" y="1364"/>
                  </a:lnTo>
                  <a:lnTo>
                    <a:pt x="1232" y="1367"/>
                  </a:lnTo>
                  <a:close/>
                  <a:moveTo>
                    <a:pt x="1442" y="1331"/>
                  </a:moveTo>
                  <a:lnTo>
                    <a:pt x="1443" y="1329"/>
                  </a:lnTo>
                  <a:lnTo>
                    <a:pt x="1454" y="1329"/>
                  </a:lnTo>
                  <a:lnTo>
                    <a:pt x="1497" y="1317"/>
                  </a:lnTo>
                  <a:lnTo>
                    <a:pt x="1534" y="1298"/>
                  </a:lnTo>
                  <a:lnTo>
                    <a:pt x="1556" y="1290"/>
                  </a:lnTo>
                  <a:lnTo>
                    <a:pt x="1561" y="1288"/>
                  </a:lnTo>
                  <a:lnTo>
                    <a:pt x="1561" y="1293"/>
                  </a:lnTo>
                  <a:lnTo>
                    <a:pt x="1517" y="1309"/>
                  </a:lnTo>
                  <a:lnTo>
                    <a:pt x="1500" y="1317"/>
                  </a:lnTo>
                  <a:lnTo>
                    <a:pt x="1453" y="1331"/>
                  </a:lnTo>
                  <a:lnTo>
                    <a:pt x="1442" y="1331"/>
                  </a:lnTo>
                  <a:close/>
                  <a:moveTo>
                    <a:pt x="1338" y="1340"/>
                  </a:moveTo>
                  <a:lnTo>
                    <a:pt x="1301" y="1351"/>
                  </a:lnTo>
                  <a:lnTo>
                    <a:pt x="1337" y="1332"/>
                  </a:lnTo>
                  <a:lnTo>
                    <a:pt x="1337" y="1329"/>
                  </a:lnTo>
                  <a:lnTo>
                    <a:pt x="1318" y="1323"/>
                  </a:lnTo>
                  <a:lnTo>
                    <a:pt x="1304" y="1329"/>
                  </a:lnTo>
                  <a:lnTo>
                    <a:pt x="1310" y="1342"/>
                  </a:lnTo>
                  <a:lnTo>
                    <a:pt x="1283" y="1343"/>
                  </a:lnTo>
                  <a:lnTo>
                    <a:pt x="1279" y="1326"/>
                  </a:lnTo>
                  <a:lnTo>
                    <a:pt x="1293" y="1298"/>
                  </a:lnTo>
                  <a:lnTo>
                    <a:pt x="1307" y="1281"/>
                  </a:lnTo>
                  <a:lnTo>
                    <a:pt x="1338" y="1284"/>
                  </a:lnTo>
                  <a:lnTo>
                    <a:pt x="1341" y="1266"/>
                  </a:lnTo>
                  <a:lnTo>
                    <a:pt x="1373" y="1249"/>
                  </a:lnTo>
                  <a:lnTo>
                    <a:pt x="1401" y="1257"/>
                  </a:lnTo>
                  <a:lnTo>
                    <a:pt x="1410" y="1243"/>
                  </a:lnTo>
                  <a:lnTo>
                    <a:pt x="1461" y="1249"/>
                  </a:lnTo>
                  <a:lnTo>
                    <a:pt x="1475" y="1235"/>
                  </a:lnTo>
                  <a:lnTo>
                    <a:pt x="1501" y="1230"/>
                  </a:lnTo>
                  <a:lnTo>
                    <a:pt x="1589" y="1226"/>
                  </a:lnTo>
                  <a:lnTo>
                    <a:pt x="1660" y="1177"/>
                  </a:lnTo>
                  <a:lnTo>
                    <a:pt x="1669" y="1179"/>
                  </a:lnTo>
                  <a:lnTo>
                    <a:pt x="1652" y="1188"/>
                  </a:lnTo>
                  <a:lnTo>
                    <a:pt x="1638" y="1213"/>
                  </a:lnTo>
                  <a:lnTo>
                    <a:pt x="1608" y="1230"/>
                  </a:lnTo>
                  <a:lnTo>
                    <a:pt x="1595" y="1249"/>
                  </a:lnTo>
                  <a:lnTo>
                    <a:pt x="1625" y="1243"/>
                  </a:lnTo>
                  <a:lnTo>
                    <a:pt x="1664" y="1213"/>
                  </a:lnTo>
                  <a:lnTo>
                    <a:pt x="1686" y="1212"/>
                  </a:lnTo>
                  <a:lnTo>
                    <a:pt x="1714" y="1221"/>
                  </a:lnTo>
                  <a:lnTo>
                    <a:pt x="1747" y="1196"/>
                  </a:lnTo>
                  <a:lnTo>
                    <a:pt x="1760" y="1197"/>
                  </a:lnTo>
                  <a:lnTo>
                    <a:pt x="1747" y="1212"/>
                  </a:lnTo>
                  <a:lnTo>
                    <a:pt x="1614" y="1276"/>
                  </a:lnTo>
                  <a:lnTo>
                    <a:pt x="1413" y="1321"/>
                  </a:lnTo>
                  <a:lnTo>
                    <a:pt x="1338" y="1340"/>
                  </a:lnTo>
                  <a:close/>
                  <a:moveTo>
                    <a:pt x="0" y="842"/>
                  </a:moveTo>
                  <a:lnTo>
                    <a:pt x="70" y="796"/>
                  </a:lnTo>
                  <a:lnTo>
                    <a:pt x="90" y="774"/>
                  </a:lnTo>
                  <a:lnTo>
                    <a:pt x="139" y="749"/>
                  </a:lnTo>
                  <a:lnTo>
                    <a:pt x="159" y="712"/>
                  </a:lnTo>
                  <a:lnTo>
                    <a:pt x="200" y="683"/>
                  </a:lnTo>
                  <a:lnTo>
                    <a:pt x="185" y="628"/>
                  </a:lnTo>
                  <a:lnTo>
                    <a:pt x="195" y="614"/>
                  </a:lnTo>
                  <a:lnTo>
                    <a:pt x="186" y="599"/>
                  </a:lnTo>
                  <a:lnTo>
                    <a:pt x="155" y="594"/>
                  </a:lnTo>
                  <a:lnTo>
                    <a:pt x="161" y="577"/>
                  </a:lnTo>
                  <a:lnTo>
                    <a:pt x="155" y="539"/>
                  </a:lnTo>
                  <a:lnTo>
                    <a:pt x="290" y="506"/>
                  </a:lnTo>
                  <a:lnTo>
                    <a:pt x="395" y="508"/>
                  </a:lnTo>
                  <a:lnTo>
                    <a:pt x="449" y="519"/>
                  </a:lnTo>
                  <a:lnTo>
                    <a:pt x="487" y="547"/>
                  </a:lnTo>
                  <a:lnTo>
                    <a:pt x="533" y="538"/>
                  </a:lnTo>
                  <a:lnTo>
                    <a:pt x="634" y="534"/>
                  </a:lnTo>
                  <a:lnTo>
                    <a:pt x="674" y="516"/>
                  </a:lnTo>
                  <a:lnTo>
                    <a:pt x="678" y="522"/>
                  </a:lnTo>
                  <a:lnTo>
                    <a:pt x="700" y="494"/>
                  </a:lnTo>
                  <a:lnTo>
                    <a:pt x="736" y="467"/>
                  </a:lnTo>
                  <a:lnTo>
                    <a:pt x="788" y="451"/>
                  </a:lnTo>
                  <a:lnTo>
                    <a:pt x="797" y="428"/>
                  </a:lnTo>
                  <a:lnTo>
                    <a:pt x="794" y="412"/>
                  </a:lnTo>
                  <a:lnTo>
                    <a:pt x="785" y="365"/>
                  </a:lnTo>
                  <a:lnTo>
                    <a:pt x="796" y="340"/>
                  </a:lnTo>
                  <a:lnTo>
                    <a:pt x="810" y="334"/>
                  </a:lnTo>
                  <a:lnTo>
                    <a:pt x="808" y="310"/>
                  </a:lnTo>
                  <a:lnTo>
                    <a:pt x="794" y="293"/>
                  </a:lnTo>
                  <a:lnTo>
                    <a:pt x="772" y="301"/>
                  </a:lnTo>
                  <a:lnTo>
                    <a:pt x="758" y="284"/>
                  </a:lnTo>
                  <a:lnTo>
                    <a:pt x="873" y="193"/>
                  </a:lnTo>
                  <a:lnTo>
                    <a:pt x="891" y="152"/>
                  </a:lnTo>
                  <a:lnTo>
                    <a:pt x="989" y="59"/>
                  </a:lnTo>
                  <a:lnTo>
                    <a:pt x="1069" y="16"/>
                  </a:lnTo>
                  <a:lnTo>
                    <a:pt x="1122" y="3"/>
                  </a:lnTo>
                  <a:lnTo>
                    <a:pt x="1280" y="3"/>
                  </a:lnTo>
                  <a:lnTo>
                    <a:pt x="1429" y="0"/>
                  </a:lnTo>
                  <a:lnTo>
                    <a:pt x="1429" y="6"/>
                  </a:lnTo>
                  <a:lnTo>
                    <a:pt x="1432" y="22"/>
                  </a:lnTo>
                  <a:lnTo>
                    <a:pt x="1423" y="48"/>
                  </a:lnTo>
                  <a:lnTo>
                    <a:pt x="1424" y="58"/>
                  </a:lnTo>
                  <a:lnTo>
                    <a:pt x="1434" y="64"/>
                  </a:lnTo>
                  <a:lnTo>
                    <a:pt x="1424" y="88"/>
                  </a:lnTo>
                  <a:lnTo>
                    <a:pt x="1428" y="102"/>
                  </a:lnTo>
                  <a:lnTo>
                    <a:pt x="1424" y="106"/>
                  </a:lnTo>
                  <a:lnTo>
                    <a:pt x="1424" y="116"/>
                  </a:lnTo>
                  <a:lnTo>
                    <a:pt x="1423" y="121"/>
                  </a:lnTo>
                  <a:lnTo>
                    <a:pt x="1424" y="133"/>
                  </a:lnTo>
                  <a:lnTo>
                    <a:pt x="1429" y="141"/>
                  </a:lnTo>
                  <a:lnTo>
                    <a:pt x="1434" y="143"/>
                  </a:lnTo>
                  <a:lnTo>
                    <a:pt x="1442" y="179"/>
                  </a:lnTo>
                  <a:lnTo>
                    <a:pt x="1442" y="186"/>
                  </a:lnTo>
                  <a:lnTo>
                    <a:pt x="1434" y="201"/>
                  </a:lnTo>
                  <a:lnTo>
                    <a:pt x="1439" y="232"/>
                  </a:lnTo>
                  <a:lnTo>
                    <a:pt x="1423" y="251"/>
                  </a:lnTo>
                  <a:lnTo>
                    <a:pt x="1423" y="260"/>
                  </a:lnTo>
                  <a:lnTo>
                    <a:pt x="1417" y="271"/>
                  </a:lnTo>
                  <a:lnTo>
                    <a:pt x="1417" y="279"/>
                  </a:lnTo>
                  <a:lnTo>
                    <a:pt x="1410" y="293"/>
                  </a:lnTo>
                  <a:lnTo>
                    <a:pt x="1410" y="298"/>
                  </a:lnTo>
                  <a:lnTo>
                    <a:pt x="1417" y="307"/>
                  </a:lnTo>
                  <a:lnTo>
                    <a:pt x="1415" y="317"/>
                  </a:lnTo>
                  <a:lnTo>
                    <a:pt x="1417" y="340"/>
                  </a:lnTo>
                  <a:lnTo>
                    <a:pt x="1424" y="349"/>
                  </a:lnTo>
                  <a:lnTo>
                    <a:pt x="1423" y="375"/>
                  </a:lnTo>
                  <a:lnTo>
                    <a:pt x="1428" y="382"/>
                  </a:lnTo>
                  <a:lnTo>
                    <a:pt x="1428" y="389"/>
                  </a:lnTo>
                  <a:lnTo>
                    <a:pt x="1424" y="403"/>
                  </a:lnTo>
                  <a:lnTo>
                    <a:pt x="1413" y="428"/>
                  </a:lnTo>
                  <a:lnTo>
                    <a:pt x="1415" y="442"/>
                  </a:lnTo>
                  <a:lnTo>
                    <a:pt x="1420" y="447"/>
                  </a:lnTo>
                  <a:lnTo>
                    <a:pt x="1426" y="433"/>
                  </a:lnTo>
                  <a:lnTo>
                    <a:pt x="1439" y="429"/>
                  </a:lnTo>
                  <a:lnTo>
                    <a:pt x="1442" y="431"/>
                  </a:lnTo>
                  <a:lnTo>
                    <a:pt x="1445" y="439"/>
                  </a:lnTo>
                  <a:lnTo>
                    <a:pt x="1443" y="443"/>
                  </a:lnTo>
                  <a:lnTo>
                    <a:pt x="1450" y="450"/>
                  </a:lnTo>
                  <a:lnTo>
                    <a:pt x="1454" y="462"/>
                  </a:lnTo>
                  <a:lnTo>
                    <a:pt x="1451" y="525"/>
                  </a:lnTo>
                  <a:lnTo>
                    <a:pt x="1445" y="639"/>
                  </a:lnTo>
                  <a:lnTo>
                    <a:pt x="1445" y="669"/>
                  </a:lnTo>
                  <a:lnTo>
                    <a:pt x="1442" y="680"/>
                  </a:lnTo>
                  <a:lnTo>
                    <a:pt x="1446" y="697"/>
                  </a:lnTo>
                  <a:lnTo>
                    <a:pt x="1451" y="697"/>
                  </a:lnTo>
                  <a:lnTo>
                    <a:pt x="1429" y="771"/>
                  </a:lnTo>
                  <a:lnTo>
                    <a:pt x="1396" y="901"/>
                  </a:lnTo>
                  <a:lnTo>
                    <a:pt x="1399" y="907"/>
                  </a:lnTo>
                  <a:lnTo>
                    <a:pt x="1392" y="1023"/>
                  </a:lnTo>
                  <a:lnTo>
                    <a:pt x="1388" y="1066"/>
                  </a:lnTo>
                  <a:lnTo>
                    <a:pt x="1387" y="1113"/>
                  </a:lnTo>
                  <a:lnTo>
                    <a:pt x="1384" y="1133"/>
                  </a:lnTo>
                  <a:lnTo>
                    <a:pt x="1401" y="1158"/>
                  </a:lnTo>
                  <a:lnTo>
                    <a:pt x="1346" y="1190"/>
                  </a:lnTo>
                  <a:lnTo>
                    <a:pt x="1362" y="1216"/>
                  </a:lnTo>
                  <a:lnTo>
                    <a:pt x="1362" y="1221"/>
                  </a:lnTo>
                  <a:lnTo>
                    <a:pt x="1334" y="1254"/>
                  </a:lnTo>
                  <a:lnTo>
                    <a:pt x="1329" y="1270"/>
                  </a:lnTo>
                  <a:lnTo>
                    <a:pt x="1304" y="1279"/>
                  </a:lnTo>
                  <a:lnTo>
                    <a:pt x="1282" y="1307"/>
                  </a:lnTo>
                  <a:lnTo>
                    <a:pt x="1282" y="1298"/>
                  </a:lnTo>
                  <a:lnTo>
                    <a:pt x="1290" y="1281"/>
                  </a:lnTo>
                  <a:lnTo>
                    <a:pt x="1301" y="1254"/>
                  </a:lnTo>
                  <a:lnTo>
                    <a:pt x="1305" y="1241"/>
                  </a:lnTo>
                  <a:lnTo>
                    <a:pt x="1307" y="1232"/>
                  </a:lnTo>
                  <a:lnTo>
                    <a:pt x="1307" y="1221"/>
                  </a:lnTo>
                  <a:lnTo>
                    <a:pt x="1236" y="1185"/>
                  </a:lnTo>
                  <a:lnTo>
                    <a:pt x="1232" y="1180"/>
                  </a:lnTo>
                  <a:lnTo>
                    <a:pt x="1200" y="1161"/>
                  </a:lnTo>
                  <a:lnTo>
                    <a:pt x="1128" y="1116"/>
                  </a:lnTo>
                  <a:lnTo>
                    <a:pt x="1127" y="1108"/>
                  </a:lnTo>
                  <a:lnTo>
                    <a:pt x="1119" y="1102"/>
                  </a:lnTo>
                  <a:lnTo>
                    <a:pt x="1119" y="1096"/>
                  </a:lnTo>
                  <a:lnTo>
                    <a:pt x="1116" y="1094"/>
                  </a:lnTo>
                  <a:lnTo>
                    <a:pt x="1108" y="1094"/>
                  </a:lnTo>
                  <a:lnTo>
                    <a:pt x="1091" y="1088"/>
                  </a:lnTo>
                  <a:lnTo>
                    <a:pt x="1086" y="1088"/>
                  </a:lnTo>
                  <a:lnTo>
                    <a:pt x="1083" y="1085"/>
                  </a:lnTo>
                  <a:lnTo>
                    <a:pt x="1076" y="1077"/>
                  </a:lnTo>
                  <a:lnTo>
                    <a:pt x="1069" y="1077"/>
                  </a:lnTo>
                  <a:lnTo>
                    <a:pt x="1059" y="1061"/>
                  </a:lnTo>
                  <a:lnTo>
                    <a:pt x="1055" y="1052"/>
                  </a:lnTo>
                  <a:lnTo>
                    <a:pt x="1045" y="1041"/>
                  </a:lnTo>
                  <a:lnTo>
                    <a:pt x="1045" y="1039"/>
                  </a:lnTo>
                  <a:lnTo>
                    <a:pt x="1050" y="1031"/>
                  </a:lnTo>
                  <a:lnTo>
                    <a:pt x="1047" y="1008"/>
                  </a:lnTo>
                  <a:lnTo>
                    <a:pt x="1050" y="1005"/>
                  </a:lnTo>
                  <a:lnTo>
                    <a:pt x="1047" y="991"/>
                  </a:lnTo>
                  <a:lnTo>
                    <a:pt x="1040" y="989"/>
                  </a:lnTo>
                  <a:lnTo>
                    <a:pt x="1040" y="984"/>
                  </a:lnTo>
                  <a:lnTo>
                    <a:pt x="1044" y="978"/>
                  </a:lnTo>
                  <a:lnTo>
                    <a:pt x="1036" y="972"/>
                  </a:lnTo>
                  <a:lnTo>
                    <a:pt x="1034" y="969"/>
                  </a:lnTo>
                  <a:lnTo>
                    <a:pt x="1028" y="967"/>
                  </a:lnTo>
                  <a:lnTo>
                    <a:pt x="1023" y="962"/>
                  </a:lnTo>
                  <a:lnTo>
                    <a:pt x="1004" y="962"/>
                  </a:lnTo>
                  <a:lnTo>
                    <a:pt x="998" y="939"/>
                  </a:lnTo>
                  <a:lnTo>
                    <a:pt x="989" y="934"/>
                  </a:lnTo>
                  <a:lnTo>
                    <a:pt x="986" y="925"/>
                  </a:lnTo>
                  <a:lnTo>
                    <a:pt x="976" y="923"/>
                  </a:lnTo>
                  <a:lnTo>
                    <a:pt x="954" y="923"/>
                  </a:lnTo>
                  <a:lnTo>
                    <a:pt x="815" y="923"/>
                  </a:lnTo>
                  <a:lnTo>
                    <a:pt x="807" y="923"/>
                  </a:lnTo>
                  <a:lnTo>
                    <a:pt x="713" y="922"/>
                  </a:lnTo>
                  <a:lnTo>
                    <a:pt x="631" y="922"/>
                  </a:lnTo>
                  <a:lnTo>
                    <a:pt x="623" y="922"/>
                  </a:lnTo>
                  <a:lnTo>
                    <a:pt x="479" y="923"/>
                  </a:lnTo>
                  <a:lnTo>
                    <a:pt x="449" y="923"/>
                  </a:lnTo>
                  <a:lnTo>
                    <a:pt x="346" y="923"/>
                  </a:lnTo>
                  <a:lnTo>
                    <a:pt x="324" y="923"/>
                  </a:lnTo>
                  <a:lnTo>
                    <a:pt x="188" y="923"/>
                  </a:lnTo>
                  <a:lnTo>
                    <a:pt x="158" y="923"/>
                  </a:lnTo>
                  <a:lnTo>
                    <a:pt x="32" y="923"/>
                  </a:lnTo>
                  <a:lnTo>
                    <a:pt x="0" y="922"/>
                  </a:lnTo>
                  <a:lnTo>
                    <a:pt x="0" y="842"/>
                  </a:lnTo>
                  <a:close/>
                </a:path>
              </a:pathLst>
            </a:custGeom>
            <a:solidFill>
              <a:srgbClr val="ECE8E4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5" name="Freeform 1604">
              <a:extLst>
                <a:ext uri="{FF2B5EF4-FFF2-40B4-BE49-F238E27FC236}">
                  <a16:creationId xmlns:a16="http://schemas.microsoft.com/office/drawing/2014/main" id="{3E1D7A7A-9874-4F91-9236-C06242B60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7" y="-135"/>
              <a:ext cx="408" cy="809"/>
            </a:xfrm>
            <a:custGeom>
              <a:avLst/>
              <a:gdLst>
                <a:gd name="T0" fmla="*/ 22 w 408"/>
                <a:gd name="T1" fmla="*/ 800 h 809"/>
                <a:gd name="T2" fmla="*/ 18 w 408"/>
                <a:gd name="T3" fmla="*/ 789 h 809"/>
                <a:gd name="T4" fmla="*/ 10 w 408"/>
                <a:gd name="T5" fmla="*/ 781 h 809"/>
                <a:gd name="T6" fmla="*/ 0 w 408"/>
                <a:gd name="T7" fmla="*/ 761 h 809"/>
                <a:gd name="T8" fmla="*/ 8 w 408"/>
                <a:gd name="T9" fmla="*/ 731 h 809"/>
                <a:gd name="T10" fmla="*/ 19 w 408"/>
                <a:gd name="T11" fmla="*/ 724 h 809"/>
                <a:gd name="T12" fmla="*/ 21 w 408"/>
                <a:gd name="T13" fmla="*/ 703 h 809"/>
                <a:gd name="T14" fmla="*/ 27 w 408"/>
                <a:gd name="T15" fmla="*/ 681 h 809"/>
                <a:gd name="T16" fmla="*/ 27 w 408"/>
                <a:gd name="T17" fmla="*/ 646 h 809"/>
                <a:gd name="T18" fmla="*/ 32 w 408"/>
                <a:gd name="T19" fmla="*/ 618 h 809"/>
                <a:gd name="T20" fmla="*/ 32 w 408"/>
                <a:gd name="T21" fmla="*/ 601 h 809"/>
                <a:gd name="T22" fmla="*/ 39 w 408"/>
                <a:gd name="T23" fmla="*/ 569 h 809"/>
                <a:gd name="T24" fmla="*/ 41 w 408"/>
                <a:gd name="T25" fmla="*/ 543 h 809"/>
                <a:gd name="T26" fmla="*/ 57 w 408"/>
                <a:gd name="T27" fmla="*/ 502 h 809"/>
                <a:gd name="T28" fmla="*/ 76 w 408"/>
                <a:gd name="T29" fmla="*/ 488 h 809"/>
                <a:gd name="T30" fmla="*/ 83 w 408"/>
                <a:gd name="T31" fmla="*/ 471 h 809"/>
                <a:gd name="T32" fmla="*/ 96 w 408"/>
                <a:gd name="T33" fmla="*/ 438 h 809"/>
                <a:gd name="T34" fmla="*/ 104 w 408"/>
                <a:gd name="T35" fmla="*/ 422 h 809"/>
                <a:gd name="T36" fmla="*/ 101 w 408"/>
                <a:gd name="T37" fmla="*/ 413 h 809"/>
                <a:gd name="T38" fmla="*/ 108 w 408"/>
                <a:gd name="T39" fmla="*/ 400 h 809"/>
                <a:gd name="T40" fmla="*/ 118 w 408"/>
                <a:gd name="T41" fmla="*/ 380 h 809"/>
                <a:gd name="T42" fmla="*/ 118 w 408"/>
                <a:gd name="T43" fmla="*/ 372 h 809"/>
                <a:gd name="T44" fmla="*/ 112 w 408"/>
                <a:gd name="T45" fmla="*/ 353 h 809"/>
                <a:gd name="T46" fmla="*/ 112 w 408"/>
                <a:gd name="T47" fmla="*/ 328 h 809"/>
                <a:gd name="T48" fmla="*/ 126 w 408"/>
                <a:gd name="T49" fmla="*/ 308 h 809"/>
                <a:gd name="T50" fmla="*/ 140 w 408"/>
                <a:gd name="T51" fmla="*/ 306 h 809"/>
                <a:gd name="T52" fmla="*/ 165 w 408"/>
                <a:gd name="T53" fmla="*/ 300 h 809"/>
                <a:gd name="T54" fmla="*/ 176 w 408"/>
                <a:gd name="T55" fmla="*/ 284 h 809"/>
                <a:gd name="T56" fmla="*/ 201 w 408"/>
                <a:gd name="T57" fmla="*/ 273 h 809"/>
                <a:gd name="T58" fmla="*/ 204 w 408"/>
                <a:gd name="T59" fmla="*/ 262 h 809"/>
                <a:gd name="T60" fmla="*/ 215 w 408"/>
                <a:gd name="T61" fmla="*/ 256 h 809"/>
                <a:gd name="T62" fmla="*/ 215 w 408"/>
                <a:gd name="T63" fmla="*/ 242 h 809"/>
                <a:gd name="T64" fmla="*/ 228 w 408"/>
                <a:gd name="T65" fmla="*/ 229 h 809"/>
                <a:gd name="T66" fmla="*/ 220 w 408"/>
                <a:gd name="T67" fmla="*/ 210 h 809"/>
                <a:gd name="T68" fmla="*/ 212 w 408"/>
                <a:gd name="T69" fmla="*/ 198 h 809"/>
                <a:gd name="T70" fmla="*/ 218 w 408"/>
                <a:gd name="T71" fmla="*/ 166 h 809"/>
                <a:gd name="T72" fmla="*/ 235 w 408"/>
                <a:gd name="T73" fmla="*/ 129 h 809"/>
                <a:gd name="T74" fmla="*/ 228 w 408"/>
                <a:gd name="T75" fmla="*/ 105 h 809"/>
                <a:gd name="T76" fmla="*/ 235 w 408"/>
                <a:gd name="T77" fmla="*/ 79 h 809"/>
                <a:gd name="T78" fmla="*/ 257 w 408"/>
                <a:gd name="T79" fmla="*/ 33 h 809"/>
                <a:gd name="T80" fmla="*/ 261 w 408"/>
                <a:gd name="T81" fmla="*/ 24 h 809"/>
                <a:gd name="T82" fmla="*/ 312 w 408"/>
                <a:gd name="T83" fmla="*/ 21 h 809"/>
                <a:gd name="T84" fmla="*/ 340 w 408"/>
                <a:gd name="T85" fmla="*/ 201 h 809"/>
                <a:gd name="T86" fmla="*/ 350 w 408"/>
                <a:gd name="T87" fmla="*/ 474 h 809"/>
                <a:gd name="T88" fmla="*/ 356 w 408"/>
                <a:gd name="T89" fmla="*/ 544 h 809"/>
                <a:gd name="T90" fmla="*/ 356 w 408"/>
                <a:gd name="T91" fmla="*/ 554 h 809"/>
                <a:gd name="T92" fmla="*/ 355 w 408"/>
                <a:gd name="T93" fmla="*/ 572 h 809"/>
                <a:gd name="T94" fmla="*/ 351 w 408"/>
                <a:gd name="T95" fmla="*/ 594 h 809"/>
                <a:gd name="T96" fmla="*/ 367 w 408"/>
                <a:gd name="T97" fmla="*/ 624 h 809"/>
                <a:gd name="T98" fmla="*/ 387 w 408"/>
                <a:gd name="T99" fmla="*/ 645 h 809"/>
                <a:gd name="T100" fmla="*/ 387 w 408"/>
                <a:gd name="T101" fmla="*/ 681 h 809"/>
                <a:gd name="T102" fmla="*/ 375 w 408"/>
                <a:gd name="T103" fmla="*/ 685 h 809"/>
                <a:gd name="T104" fmla="*/ 373 w 408"/>
                <a:gd name="T105" fmla="*/ 699 h 809"/>
                <a:gd name="T106" fmla="*/ 408 w 408"/>
                <a:gd name="T107" fmla="*/ 699 h 809"/>
                <a:gd name="T108" fmla="*/ 381 w 408"/>
                <a:gd name="T109" fmla="*/ 757 h 809"/>
                <a:gd name="T110" fmla="*/ 366 w 408"/>
                <a:gd name="T111" fmla="*/ 753 h 809"/>
                <a:gd name="T112" fmla="*/ 333 w 408"/>
                <a:gd name="T113" fmla="*/ 776 h 809"/>
                <a:gd name="T114" fmla="*/ 306 w 408"/>
                <a:gd name="T115" fmla="*/ 775 h 809"/>
                <a:gd name="T116" fmla="*/ 293 w 408"/>
                <a:gd name="T117" fmla="*/ 793 h 809"/>
                <a:gd name="T118" fmla="*/ 284 w 408"/>
                <a:gd name="T119" fmla="*/ 809 h 809"/>
                <a:gd name="T120" fmla="*/ 140 w 408"/>
                <a:gd name="T121" fmla="*/ 806 h 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8" h="809">
                  <a:moveTo>
                    <a:pt x="63" y="801"/>
                  </a:moveTo>
                  <a:lnTo>
                    <a:pt x="22" y="800"/>
                  </a:lnTo>
                  <a:lnTo>
                    <a:pt x="21" y="793"/>
                  </a:lnTo>
                  <a:lnTo>
                    <a:pt x="18" y="789"/>
                  </a:lnTo>
                  <a:lnTo>
                    <a:pt x="11" y="786"/>
                  </a:lnTo>
                  <a:lnTo>
                    <a:pt x="10" y="781"/>
                  </a:lnTo>
                  <a:lnTo>
                    <a:pt x="3" y="775"/>
                  </a:lnTo>
                  <a:lnTo>
                    <a:pt x="0" y="761"/>
                  </a:lnTo>
                  <a:lnTo>
                    <a:pt x="8" y="743"/>
                  </a:lnTo>
                  <a:lnTo>
                    <a:pt x="8" y="731"/>
                  </a:lnTo>
                  <a:lnTo>
                    <a:pt x="11" y="728"/>
                  </a:lnTo>
                  <a:lnTo>
                    <a:pt x="19" y="724"/>
                  </a:lnTo>
                  <a:lnTo>
                    <a:pt x="22" y="717"/>
                  </a:lnTo>
                  <a:lnTo>
                    <a:pt x="21" y="703"/>
                  </a:lnTo>
                  <a:lnTo>
                    <a:pt x="24" y="692"/>
                  </a:lnTo>
                  <a:lnTo>
                    <a:pt x="27" y="681"/>
                  </a:lnTo>
                  <a:lnTo>
                    <a:pt x="22" y="670"/>
                  </a:lnTo>
                  <a:lnTo>
                    <a:pt x="27" y="646"/>
                  </a:lnTo>
                  <a:lnTo>
                    <a:pt x="35" y="624"/>
                  </a:lnTo>
                  <a:lnTo>
                    <a:pt x="32" y="618"/>
                  </a:lnTo>
                  <a:lnTo>
                    <a:pt x="36" y="610"/>
                  </a:lnTo>
                  <a:lnTo>
                    <a:pt x="32" y="601"/>
                  </a:lnTo>
                  <a:lnTo>
                    <a:pt x="36" y="591"/>
                  </a:lnTo>
                  <a:lnTo>
                    <a:pt x="39" y="569"/>
                  </a:lnTo>
                  <a:lnTo>
                    <a:pt x="36" y="558"/>
                  </a:lnTo>
                  <a:lnTo>
                    <a:pt x="41" y="543"/>
                  </a:lnTo>
                  <a:lnTo>
                    <a:pt x="49" y="535"/>
                  </a:lnTo>
                  <a:lnTo>
                    <a:pt x="57" y="502"/>
                  </a:lnTo>
                  <a:lnTo>
                    <a:pt x="66" y="491"/>
                  </a:lnTo>
                  <a:lnTo>
                    <a:pt x="76" y="488"/>
                  </a:lnTo>
                  <a:lnTo>
                    <a:pt x="77" y="481"/>
                  </a:lnTo>
                  <a:lnTo>
                    <a:pt x="83" y="471"/>
                  </a:lnTo>
                  <a:lnTo>
                    <a:pt x="87" y="447"/>
                  </a:lnTo>
                  <a:lnTo>
                    <a:pt x="96" y="438"/>
                  </a:lnTo>
                  <a:lnTo>
                    <a:pt x="99" y="428"/>
                  </a:lnTo>
                  <a:lnTo>
                    <a:pt x="104" y="422"/>
                  </a:lnTo>
                  <a:lnTo>
                    <a:pt x="99" y="417"/>
                  </a:lnTo>
                  <a:lnTo>
                    <a:pt x="101" y="413"/>
                  </a:lnTo>
                  <a:lnTo>
                    <a:pt x="105" y="406"/>
                  </a:lnTo>
                  <a:lnTo>
                    <a:pt x="108" y="400"/>
                  </a:lnTo>
                  <a:lnTo>
                    <a:pt x="118" y="383"/>
                  </a:lnTo>
                  <a:lnTo>
                    <a:pt x="118" y="380"/>
                  </a:lnTo>
                  <a:lnTo>
                    <a:pt x="113" y="378"/>
                  </a:lnTo>
                  <a:lnTo>
                    <a:pt x="118" y="372"/>
                  </a:lnTo>
                  <a:lnTo>
                    <a:pt x="113" y="361"/>
                  </a:lnTo>
                  <a:lnTo>
                    <a:pt x="112" y="353"/>
                  </a:lnTo>
                  <a:lnTo>
                    <a:pt x="113" y="336"/>
                  </a:lnTo>
                  <a:lnTo>
                    <a:pt x="112" y="328"/>
                  </a:lnTo>
                  <a:lnTo>
                    <a:pt x="115" y="317"/>
                  </a:lnTo>
                  <a:lnTo>
                    <a:pt x="126" y="308"/>
                  </a:lnTo>
                  <a:lnTo>
                    <a:pt x="138" y="308"/>
                  </a:lnTo>
                  <a:lnTo>
                    <a:pt x="140" y="306"/>
                  </a:lnTo>
                  <a:lnTo>
                    <a:pt x="160" y="301"/>
                  </a:lnTo>
                  <a:lnTo>
                    <a:pt x="165" y="300"/>
                  </a:lnTo>
                  <a:lnTo>
                    <a:pt x="168" y="290"/>
                  </a:lnTo>
                  <a:lnTo>
                    <a:pt x="176" y="284"/>
                  </a:lnTo>
                  <a:lnTo>
                    <a:pt x="196" y="279"/>
                  </a:lnTo>
                  <a:lnTo>
                    <a:pt x="201" y="273"/>
                  </a:lnTo>
                  <a:lnTo>
                    <a:pt x="203" y="264"/>
                  </a:lnTo>
                  <a:lnTo>
                    <a:pt x="204" y="262"/>
                  </a:lnTo>
                  <a:lnTo>
                    <a:pt x="210" y="262"/>
                  </a:lnTo>
                  <a:lnTo>
                    <a:pt x="215" y="256"/>
                  </a:lnTo>
                  <a:lnTo>
                    <a:pt x="220" y="245"/>
                  </a:lnTo>
                  <a:lnTo>
                    <a:pt x="215" y="242"/>
                  </a:lnTo>
                  <a:lnTo>
                    <a:pt x="215" y="237"/>
                  </a:lnTo>
                  <a:lnTo>
                    <a:pt x="228" y="229"/>
                  </a:lnTo>
                  <a:lnTo>
                    <a:pt x="223" y="224"/>
                  </a:lnTo>
                  <a:lnTo>
                    <a:pt x="220" y="210"/>
                  </a:lnTo>
                  <a:lnTo>
                    <a:pt x="215" y="207"/>
                  </a:lnTo>
                  <a:lnTo>
                    <a:pt x="212" y="198"/>
                  </a:lnTo>
                  <a:lnTo>
                    <a:pt x="206" y="179"/>
                  </a:lnTo>
                  <a:lnTo>
                    <a:pt x="218" y="166"/>
                  </a:lnTo>
                  <a:lnTo>
                    <a:pt x="220" y="154"/>
                  </a:lnTo>
                  <a:lnTo>
                    <a:pt x="235" y="129"/>
                  </a:lnTo>
                  <a:lnTo>
                    <a:pt x="231" y="115"/>
                  </a:lnTo>
                  <a:lnTo>
                    <a:pt x="228" y="105"/>
                  </a:lnTo>
                  <a:lnTo>
                    <a:pt x="235" y="93"/>
                  </a:lnTo>
                  <a:lnTo>
                    <a:pt x="235" y="79"/>
                  </a:lnTo>
                  <a:lnTo>
                    <a:pt x="251" y="60"/>
                  </a:lnTo>
                  <a:lnTo>
                    <a:pt x="257" y="33"/>
                  </a:lnTo>
                  <a:lnTo>
                    <a:pt x="248" y="21"/>
                  </a:lnTo>
                  <a:lnTo>
                    <a:pt x="261" y="24"/>
                  </a:lnTo>
                  <a:lnTo>
                    <a:pt x="281" y="5"/>
                  </a:lnTo>
                  <a:lnTo>
                    <a:pt x="312" y="21"/>
                  </a:lnTo>
                  <a:lnTo>
                    <a:pt x="328" y="0"/>
                  </a:lnTo>
                  <a:lnTo>
                    <a:pt x="340" y="201"/>
                  </a:lnTo>
                  <a:lnTo>
                    <a:pt x="345" y="322"/>
                  </a:lnTo>
                  <a:lnTo>
                    <a:pt x="350" y="474"/>
                  </a:lnTo>
                  <a:lnTo>
                    <a:pt x="351" y="543"/>
                  </a:lnTo>
                  <a:lnTo>
                    <a:pt x="356" y="544"/>
                  </a:lnTo>
                  <a:lnTo>
                    <a:pt x="358" y="547"/>
                  </a:lnTo>
                  <a:lnTo>
                    <a:pt x="356" y="554"/>
                  </a:lnTo>
                  <a:lnTo>
                    <a:pt x="356" y="558"/>
                  </a:lnTo>
                  <a:lnTo>
                    <a:pt x="355" y="572"/>
                  </a:lnTo>
                  <a:lnTo>
                    <a:pt x="356" y="582"/>
                  </a:lnTo>
                  <a:lnTo>
                    <a:pt x="351" y="594"/>
                  </a:lnTo>
                  <a:lnTo>
                    <a:pt x="355" y="604"/>
                  </a:lnTo>
                  <a:lnTo>
                    <a:pt x="367" y="624"/>
                  </a:lnTo>
                  <a:lnTo>
                    <a:pt x="369" y="630"/>
                  </a:lnTo>
                  <a:lnTo>
                    <a:pt x="387" y="645"/>
                  </a:lnTo>
                  <a:lnTo>
                    <a:pt x="384" y="670"/>
                  </a:lnTo>
                  <a:lnTo>
                    <a:pt x="387" y="681"/>
                  </a:lnTo>
                  <a:lnTo>
                    <a:pt x="373" y="679"/>
                  </a:lnTo>
                  <a:lnTo>
                    <a:pt x="375" y="685"/>
                  </a:lnTo>
                  <a:lnTo>
                    <a:pt x="367" y="692"/>
                  </a:lnTo>
                  <a:lnTo>
                    <a:pt x="373" y="699"/>
                  </a:lnTo>
                  <a:lnTo>
                    <a:pt x="391" y="690"/>
                  </a:lnTo>
                  <a:lnTo>
                    <a:pt x="408" y="699"/>
                  </a:lnTo>
                  <a:lnTo>
                    <a:pt x="387" y="757"/>
                  </a:lnTo>
                  <a:lnTo>
                    <a:pt x="381" y="757"/>
                  </a:lnTo>
                  <a:lnTo>
                    <a:pt x="369" y="750"/>
                  </a:lnTo>
                  <a:lnTo>
                    <a:pt x="366" y="753"/>
                  </a:lnTo>
                  <a:lnTo>
                    <a:pt x="340" y="762"/>
                  </a:lnTo>
                  <a:lnTo>
                    <a:pt x="333" y="776"/>
                  </a:lnTo>
                  <a:lnTo>
                    <a:pt x="320" y="771"/>
                  </a:lnTo>
                  <a:lnTo>
                    <a:pt x="306" y="775"/>
                  </a:lnTo>
                  <a:lnTo>
                    <a:pt x="304" y="795"/>
                  </a:lnTo>
                  <a:lnTo>
                    <a:pt x="293" y="793"/>
                  </a:lnTo>
                  <a:lnTo>
                    <a:pt x="292" y="800"/>
                  </a:lnTo>
                  <a:lnTo>
                    <a:pt x="284" y="809"/>
                  </a:lnTo>
                  <a:lnTo>
                    <a:pt x="146" y="806"/>
                  </a:lnTo>
                  <a:lnTo>
                    <a:pt x="140" y="806"/>
                  </a:lnTo>
                  <a:lnTo>
                    <a:pt x="63" y="801"/>
                  </a:lnTo>
                  <a:close/>
                </a:path>
              </a:pathLst>
            </a:custGeom>
            <a:solidFill>
              <a:srgbClr val="ECE8E4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6" name="Freeform 1605">
              <a:extLst>
                <a:ext uri="{FF2B5EF4-FFF2-40B4-BE49-F238E27FC236}">
                  <a16:creationId xmlns:a16="http://schemas.microsoft.com/office/drawing/2014/main" id="{FABC89FD-E60C-41AD-90D7-6DE31D3355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5" y="-829"/>
              <a:ext cx="918" cy="1384"/>
            </a:xfrm>
            <a:custGeom>
              <a:avLst/>
              <a:gdLst>
                <a:gd name="T0" fmla="*/ 610 w 918"/>
                <a:gd name="T1" fmla="*/ 969 h 1384"/>
                <a:gd name="T2" fmla="*/ 621 w 918"/>
                <a:gd name="T3" fmla="*/ 1012 h 1384"/>
                <a:gd name="T4" fmla="*/ 602 w 918"/>
                <a:gd name="T5" fmla="*/ 986 h 1384"/>
                <a:gd name="T6" fmla="*/ 290 w 918"/>
                <a:gd name="T7" fmla="*/ 1179 h 1384"/>
                <a:gd name="T8" fmla="*/ 276 w 918"/>
                <a:gd name="T9" fmla="*/ 1152 h 1384"/>
                <a:gd name="T10" fmla="*/ 248 w 918"/>
                <a:gd name="T11" fmla="*/ 1175 h 1384"/>
                <a:gd name="T12" fmla="*/ 237 w 918"/>
                <a:gd name="T13" fmla="*/ 1150 h 1384"/>
                <a:gd name="T14" fmla="*/ 193 w 918"/>
                <a:gd name="T15" fmla="*/ 1233 h 1384"/>
                <a:gd name="T16" fmla="*/ 139 w 918"/>
                <a:gd name="T17" fmla="*/ 1304 h 1384"/>
                <a:gd name="T18" fmla="*/ 59 w 918"/>
                <a:gd name="T19" fmla="*/ 1375 h 1384"/>
                <a:gd name="T20" fmla="*/ 41 w 918"/>
                <a:gd name="T21" fmla="*/ 1324 h 1384"/>
                <a:gd name="T22" fmla="*/ 23 w 918"/>
                <a:gd name="T23" fmla="*/ 1288 h 1384"/>
                <a:gd name="T24" fmla="*/ 28 w 918"/>
                <a:gd name="T25" fmla="*/ 1252 h 1384"/>
                <a:gd name="T26" fmla="*/ 28 w 918"/>
                <a:gd name="T27" fmla="*/ 1238 h 1384"/>
                <a:gd name="T28" fmla="*/ 17 w 918"/>
                <a:gd name="T29" fmla="*/ 1016 h 1384"/>
                <a:gd name="T30" fmla="*/ 28 w 918"/>
                <a:gd name="T31" fmla="*/ 683 h 1384"/>
                <a:gd name="T32" fmla="*/ 59 w 918"/>
                <a:gd name="T33" fmla="*/ 679 h 1384"/>
                <a:gd name="T34" fmla="*/ 100 w 918"/>
                <a:gd name="T35" fmla="*/ 666 h 1384"/>
                <a:gd name="T36" fmla="*/ 154 w 918"/>
                <a:gd name="T37" fmla="*/ 563 h 1384"/>
                <a:gd name="T38" fmla="*/ 186 w 918"/>
                <a:gd name="T39" fmla="*/ 490 h 1384"/>
                <a:gd name="T40" fmla="*/ 174 w 918"/>
                <a:gd name="T41" fmla="*/ 451 h 1384"/>
                <a:gd name="T42" fmla="*/ 201 w 918"/>
                <a:gd name="T43" fmla="*/ 365 h 1384"/>
                <a:gd name="T44" fmla="*/ 246 w 918"/>
                <a:gd name="T45" fmla="*/ 249 h 1384"/>
                <a:gd name="T46" fmla="*/ 456 w 918"/>
                <a:gd name="T47" fmla="*/ 64 h 1384"/>
                <a:gd name="T48" fmla="*/ 600 w 918"/>
                <a:gd name="T49" fmla="*/ 55 h 1384"/>
                <a:gd name="T50" fmla="*/ 734 w 918"/>
                <a:gd name="T51" fmla="*/ 128 h 1384"/>
                <a:gd name="T52" fmla="*/ 734 w 918"/>
                <a:gd name="T53" fmla="*/ 511 h 1384"/>
                <a:gd name="T54" fmla="*/ 732 w 918"/>
                <a:gd name="T55" fmla="*/ 575 h 1384"/>
                <a:gd name="T56" fmla="*/ 774 w 918"/>
                <a:gd name="T57" fmla="*/ 600 h 1384"/>
                <a:gd name="T58" fmla="*/ 799 w 918"/>
                <a:gd name="T59" fmla="*/ 638 h 1384"/>
                <a:gd name="T60" fmla="*/ 812 w 918"/>
                <a:gd name="T61" fmla="*/ 730 h 1384"/>
                <a:gd name="T62" fmla="*/ 875 w 918"/>
                <a:gd name="T63" fmla="*/ 741 h 1384"/>
                <a:gd name="T64" fmla="*/ 878 w 918"/>
                <a:gd name="T65" fmla="*/ 821 h 1384"/>
                <a:gd name="T66" fmla="*/ 867 w 918"/>
                <a:gd name="T67" fmla="*/ 900 h 1384"/>
                <a:gd name="T68" fmla="*/ 784 w 918"/>
                <a:gd name="T69" fmla="*/ 915 h 1384"/>
                <a:gd name="T70" fmla="*/ 719 w 918"/>
                <a:gd name="T71" fmla="*/ 937 h 1384"/>
                <a:gd name="T72" fmla="*/ 696 w 918"/>
                <a:gd name="T73" fmla="*/ 947 h 1384"/>
                <a:gd name="T74" fmla="*/ 672 w 918"/>
                <a:gd name="T75" fmla="*/ 984 h 1384"/>
                <a:gd name="T76" fmla="*/ 608 w 918"/>
                <a:gd name="T77" fmla="*/ 969 h 1384"/>
                <a:gd name="T78" fmla="*/ 569 w 918"/>
                <a:gd name="T79" fmla="*/ 1012 h 1384"/>
                <a:gd name="T80" fmla="*/ 508 w 918"/>
                <a:gd name="T81" fmla="*/ 1002 h 1384"/>
                <a:gd name="T82" fmla="*/ 522 w 918"/>
                <a:gd name="T83" fmla="*/ 931 h 1384"/>
                <a:gd name="T84" fmla="*/ 495 w 918"/>
                <a:gd name="T85" fmla="*/ 912 h 1384"/>
                <a:gd name="T86" fmla="*/ 475 w 918"/>
                <a:gd name="T87" fmla="*/ 969 h 1384"/>
                <a:gd name="T88" fmla="*/ 448 w 918"/>
                <a:gd name="T89" fmla="*/ 1083 h 1384"/>
                <a:gd name="T90" fmla="*/ 387 w 918"/>
                <a:gd name="T91" fmla="*/ 1097 h 1384"/>
                <a:gd name="T92" fmla="*/ 332 w 918"/>
                <a:gd name="T93" fmla="*/ 1150 h 1384"/>
                <a:gd name="T94" fmla="*/ 329 w 918"/>
                <a:gd name="T95" fmla="*/ 1092 h 1384"/>
                <a:gd name="T96" fmla="*/ 302 w 918"/>
                <a:gd name="T97" fmla="*/ 1169 h 1384"/>
                <a:gd name="T98" fmla="*/ 287 w 918"/>
                <a:gd name="T99" fmla="*/ 1094 h 1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18" h="1384">
                  <a:moveTo>
                    <a:pt x="602" y="986"/>
                  </a:moveTo>
                  <a:lnTo>
                    <a:pt x="610" y="978"/>
                  </a:lnTo>
                  <a:lnTo>
                    <a:pt x="610" y="969"/>
                  </a:lnTo>
                  <a:lnTo>
                    <a:pt x="633" y="967"/>
                  </a:lnTo>
                  <a:lnTo>
                    <a:pt x="650" y="1000"/>
                  </a:lnTo>
                  <a:lnTo>
                    <a:pt x="621" y="1012"/>
                  </a:lnTo>
                  <a:lnTo>
                    <a:pt x="618" y="1033"/>
                  </a:lnTo>
                  <a:lnTo>
                    <a:pt x="597" y="1019"/>
                  </a:lnTo>
                  <a:lnTo>
                    <a:pt x="602" y="986"/>
                  </a:lnTo>
                  <a:close/>
                  <a:moveTo>
                    <a:pt x="291" y="1081"/>
                  </a:moveTo>
                  <a:lnTo>
                    <a:pt x="274" y="1103"/>
                  </a:lnTo>
                  <a:lnTo>
                    <a:pt x="290" y="1179"/>
                  </a:lnTo>
                  <a:lnTo>
                    <a:pt x="281" y="1186"/>
                  </a:lnTo>
                  <a:lnTo>
                    <a:pt x="276" y="1183"/>
                  </a:lnTo>
                  <a:lnTo>
                    <a:pt x="276" y="1152"/>
                  </a:lnTo>
                  <a:lnTo>
                    <a:pt x="266" y="1141"/>
                  </a:lnTo>
                  <a:lnTo>
                    <a:pt x="263" y="1168"/>
                  </a:lnTo>
                  <a:lnTo>
                    <a:pt x="248" y="1175"/>
                  </a:lnTo>
                  <a:lnTo>
                    <a:pt x="241" y="1169"/>
                  </a:lnTo>
                  <a:lnTo>
                    <a:pt x="246" y="1150"/>
                  </a:lnTo>
                  <a:lnTo>
                    <a:pt x="237" y="1150"/>
                  </a:lnTo>
                  <a:lnTo>
                    <a:pt x="208" y="1168"/>
                  </a:lnTo>
                  <a:lnTo>
                    <a:pt x="190" y="1201"/>
                  </a:lnTo>
                  <a:lnTo>
                    <a:pt x="193" y="1233"/>
                  </a:lnTo>
                  <a:lnTo>
                    <a:pt x="166" y="1248"/>
                  </a:lnTo>
                  <a:lnTo>
                    <a:pt x="160" y="1279"/>
                  </a:lnTo>
                  <a:lnTo>
                    <a:pt x="139" y="1304"/>
                  </a:lnTo>
                  <a:lnTo>
                    <a:pt x="122" y="1309"/>
                  </a:lnTo>
                  <a:lnTo>
                    <a:pt x="94" y="1384"/>
                  </a:lnTo>
                  <a:lnTo>
                    <a:pt x="59" y="1375"/>
                  </a:lnTo>
                  <a:lnTo>
                    <a:pt x="56" y="1364"/>
                  </a:lnTo>
                  <a:lnTo>
                    <a:pt x="59" y="1339"/>
                  </a:lnTo>
                  <a:lnTo>
                    <a:pt x="41" y="1324"/>
                  </a:lnTo>
                  <a:lnTo>
                    <a:pt x="39" y="1318"/>
                  </a:lnTo>
                  <a:lnTo>
                    <a:pt x="27" y="1298"/>
                  </a:lnTo>
                  <a:lnTo>
                    <a:pt x="23" y="1288"/>
                  </a:lnTo>
                  <a:lnTo>
                    <a:pt x="28" y="1276"/>
                  </a:lnTo>
                  <a:lnTo>
                    <a:pt x="27" y="1266"/>
                  </a:lnTo>
                  <a:lnTo>
                    <a:pt x="28" y="1252"/>
                  </a:lnTo>
                  <a:lnTo>
                    <a:pt x="28" y="1248"/>
                  </a:lnTo>
                  <a:lnTo>
                    <a:pt x="30" y="1241"/>
                  </a:lnTo>
                  <a:lnTo>
                    <a:pt x="28" y="1238"/>
                  </a:lnTo>
                  <a:lnTo>
                    <a:pt x="23" y="1237"/>
                  </a:lnTo>
                  <a:lnTo>
                    <a:pt x="22" y="1168"/>
                  </a:lnTo>
                  <a:lnTo>
                    <a:pt x="17" y="1016"/>
                  </a:lnTo>
                  <a:lnTo>
                    <a:pt x="12" y="895"/>
                  </a:lnTo>
                  <a:lnTo>
                    <a:pt x="0" y="694"/>
                  </a:lnTo>
                  <a:lnTo>
                    <a:pt x="28" y="683"/>
                  </a:lnTo>
                  <a:lnTo>
                    <a:pt x="47" y="719"/>
                  </a:lnTo>
                  <a:lnTo>
                    <a:pt x="55" y="702"/>
                  </a:lnTo>
                  <a:lnTo>
                    <a:pt x="59" y="679"/>
                  </a:lnTo>
                  <a:lnTo>
                    <a:pt x="56" y="668"/>
                  </a:lnTo>
                  <a:lnTo>
                    <a:pt x="64" y="657"/>
                  </a:lnTo>
                  <a:lnTo>
                    <a:pt x="100" y="666"/>
                  </a:lnTo>
                  <a:lnTo>
                    <a:pt x="81" y="628"/>
                  </a:lnTo>
                  <a:lnTo>
                    <a:pt x="119" y="581"/>
                  </a:lnTo>
                  <a:lnTo>
                    <a:pt x="154" y="563"/>
                  </a:lnTo>
                  <a:lnTo>
                    <a:pt x="149" y="539"/>
                  </a:lnTo>
                  <a:lnTo>
                    <a:pt x="185" y="505"/>
                  </a:lnTo>
                  <a:lnTo>
                    <a:pt x="186" y="490"/>
                  </a:lnTo>
                  <a:lnTo>
                    <a:pt x="174" y="483"/>
                  </a:lnTo>
                  <a:lnTo>
                    <a:pt x="180" y="456"/>
                  </a:lnTo>
                  <a:lnTo>
                    <a:pt x="174" y="451"/>
                  </a:lnTo>
                  <a:lnTo>
                    <a:pt x="191" y="429"/>
                  </a:lnTo>
                  <a:lnTo>
                    <a:pt x="180" y="412"/>
                  </a:lnTo>
                  <a:lnTo>
                    <a:pt x="201" y="365"/>
                  </a:lnTo>
                  <a:lnTo>
                    <a:pt x="232" y="335"/>
                  </a:lnTo>
                  <a:lnTo>
                    <a:pt x="238" y="290"/>
                  </a:lnTo>
                  <a:lnTo>
                    <a:pt x="246" y="249"/>
                  </a:lnTo>
                  <a:lnTo>
                    <a:pt x="414" y="0"/>
                  </a:lnTo>
                  <a:lnTo>
                    <a:pt x="455" y="11"/>
                  </a:lnTo>
                  <a:lnTo>
                    <a:pt x="456" y="64"/>
                  </a:lnTo>
                  <a:lnTo>
                    <a:pt x="487" y="89"/>
                  </a:lnTo>
                  <a:lnTo>
                    <a:pt x="574" y="50"/>
                  </a:lnTo>
                  <a:lnTo>
                    <a:pt x="600" y="55"/>
                  </a:lnTo>
                  <a:lnTo>
                    <a:pt x="613" y="31"/>
                  </a:lnTo>
                  <a:lnTo>
                    <a:pt x="636" y="34"/>
                  </a:lnTo>
                  <a:lnTo>
                    <a:pt x="734" y="128"/>
                  </a:lnTo>
                  <a:lnTo>
                    <a:pt x="737" y="490"/>
                  </a:lnTo>
                  <a:lnTo>
                    <a:pt x="741" y="500"/>
                  </a:lnTo>
                  <a:lnTo>
                    <a:pt x="734" y="511"/>
                  </a:lnTo>
                  <a:lnTo>
                    <a:pt x="741" y="528"/>
                  </a:lnTo>
                  <a:lnTo>
                    <a:pt x="732" y="539"/>
                  </a:lnTo>
                  <a:lnTo>
                    <a:pt x="732" y="575"/>
                  </a:lnTo>
                  <a:lnTo>
                    <a:pt x="744" y="581"/>
                  </a:lnTo>
                  <a:lnTo>
                    <a:pt x="751" y="575"/>
                  </a:lnTo>
                  <a:lnTo>
                    <a:pt x="774" y="600"/>
                  </a:lnTo>
                  <a:lnTo>
                    <a:pt x="813" y="603"/>
                  </a:lnTo>
                  <a:lnTo>
                    <a:pt x="818" y="632"/>
                  </a:lnTo>
                  <a:lnTo>
                    <a:pt x="799" y="638"/>
                  </a:lnTo>
                  <a:lnTo>
                    <a:pt x="818" y="672"/>
                  </a:lnTo>
                  <a:lnTo>
                    <a:pt x="804" y="702"/>
                  </a:lnTo>
                  <a:lnTo>
                    <a:pt x="812" y="730"/>
                  </a:lnTo>
                  <a:lnTo>
                    <a:pt x="834" y="751"/>
                  </a:lnTo>
                  <a:lnTo>
                    <a:pt x="850" y="732"/>
                  </a:lnTo>
                  <a:lnTo>
                    <a:pt x="875" y="741"/>
                  </a:lnTo>
                  <a:lnTo>
                    <a:pt x="876" y="751"/>
                  </a:lnTo>
                  <a:lnTo>
                    <a:pt x="897" y="804"/>
                  </a:lnTo>
                  <a:lnTo>
                    <a:pt x="878" y="821"/>
                  </a:lnTo>
                  <a:lnTo>
                    <a:pt x="918" y="845"/>
                  </a:lnTo>
                  <a:lnTo>
                    <a:pt x="909" y="859"/>
                  </a:lnTo>
                  <a:lnTo>
                    <a:pt x="867" y="900"/>
                  </a:lnTo>
                  <a:lnTo>
                    <a:pt x="842" y="900"/>
                  </a:lnTo>
                  <a:lnTo>
                    <a:pt x="823" y="887"/>
                  </a:lnTo>
                  <a:lnTo>
                    <a:pt x="784" y="915"/>
                  </a:lnTo>
                  <a:lnTo>
                    <a:pt x="773" y="936"/>
                  </a:lnTo>
                  <a:lnTo>
                    <a:pt x="730" y="931"/>
                  </a:lnTo>
                  <a:lnTo>
                    <a:pt x="719" y="937"/>
                  </a:lnTo>
                  <a:lnTo>
                    <a:pt x="710" y="964"/>
                  </a:lnTo>
                  <a:lnTo>
                    <a:pt x="694" y="956"/>
                  </a:lnTo>
                  <a:lnTo>
                    <a:pt x="696" y="947"/>
                  </a:lnTo>
                  <a:lnTo>
                    <a:pt x="691" y="951"/>
                  </a:lnTo>
                  <a:lnTo>
                    <a:pt x="685" y="984"/>
                  </a:lnTo>
                  <a:lnTo>
                    <a:pt x="672" y="984"/>
                  </a:lnTo>
                  <a:lnTo>
                    <a:pt x="657" y="956"/>
                  </a:lnTo>
                  <a:lnTo>
                    <a:pt x="633" y="950"/>
                  </a:lnTo>
                  <a:lnTo>
                    <a:pt x="608" y="969"/>
                  </a:lnTo>
                  <a:lnTo>
                    <a:pt x="592" y="958"/>
                  </a:lnTo>
                  <a:lnTo>
                    <a:pt x="566" y="978"/>
                  </a:lnTo>
                  <a:lnTo>
                    <a:pt x="569" y="1012"/>
                  </a:lnTo>
                  <a:lnTo>
                    <a:pt x="564" y="1022"/>
                  </a:lnTo>
                  <a:lnTo>
                    <a:pt x="522" y="995"/>
                  </a:lnTo>
                  <a:lnTo>
                    <a:pt x="508" y="1002"/>
                  </a:lnTo>
                  <a:lnTo>
                    <a:pt x="508" y="975"/>
                  </a:lnTo>
                  <a:lnTo>
                    <a:pt x="522" y="945"/>
                  </a:lnTo>
                  <a:lnTo>
                    <a:pt x="522" y="931"/>
                  </a:lnTo>
                  <a:lnTo>
                    <a:pt x="505" y="914"/>
                  </a:lnTo>
                  <a:lnTo>
                    <a:pt x="505" y="896"/>
                  </a:lnTo>
                  <a:lnTo>
                    <a:pt x="495" y="912"/>
                  </a:lnTo>
                  <a:lnTo>
                    <a:pt x="508" y="925"/>
                  </a:lnTo>
                  <a:lnTo>
                    <a:pt x="508" y="950"/>
                  </a:lnTo>
                  <a:lnTo>
                    <a:pt x="475" y="969"/>
                  </a:lnTo>
                  <a:lnTo>
                    <a:pt x="469" y="1019"/>
                  </a:lnTo>
                  <a:lnTo>
                    <a:pt x="459" y="1028"/>
                  </a:lnTo>
                  <a:lnTo>
                    <a:pt x="448" y="1083"/>
                  </a:lnTo>
                  <a:lnTo>
                    <a:pt x="417" y="1121"/>
                  </a:lnTo>
                  <a:lnTo>
                    <a:pt x="400" y="1121"/>
                  </a:lnTo>
                  <a:lnTo>
                    <a:pt x="387" y="1097"/>
                  </a:lnTo>
                  <a:lnTo>
                    <a:pt x="376" y="1096"/>
                  </a:lnTo>
                  <a:lnTo>
                    <a:pt x="357" y="1138"/>
                  </a:lnTo>
                  <a:lnTo>
                    <a:pt x="332" y="1150"/>
                  </a:lnTo>
                  <a:lnTo>
                    <a:pt x="318" y="1149"/>
                  </a:lnTo>
                  <a:lnTo>
                    <a:pt x="320" y="1110"/>
                  </a:lnTo>
                  <a:lnTo>
                    <a:pt x="329" y="1092"/>
                  </a:lnTo>
                  <a:lnTo>
                    <a:pt x="304" y="1122"/>
                  </a:lnTo>
                  <a:lnTo>
                    <a:pt x="299" y="1136"/>
                  </a:lnTo>
                  <a:lnTo>
                    <a:pt x="302" y="1169"/>
                  </a:lnTo>
                  <a:lnTo>
                    <a:pt x="296" y="1177"/>
                  </a:lnTo>
                  <a:lnTo>
                    <a:pt x="291" y="1168"/>
                  </a:lnTo>
                  <a:lnTo>
                    <a:pt x="287" y="1094"/>
                  </a:lnTo>
                  <a:lnTo>
                    <a:pt x="295" y="1088"/>
                  </a:lnTo>
                  <a:lnTo>
                    <a:pt x="291" y="1081"/>
                  </a:lnTo>
                  <a:close/>
                </a:path>
              </a:pathLst>
            </a:custGeom>
            <a:solidFill>
              <a:srgbClr val="ECE8E4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7" name="Freeform 1606">
              <a:extLst>
                <a:ext uri="{FF2B5EF4-FFF2-40B4-BE49-F238E27FC236}">
                  <a16:creationId xmlns:a16="http://schemas.microsoft.com/office/drawing/2014/main" id="{2AF86E6D-3D69-4669-833E-9ADA4696B2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65" y="2444"/>
              <a:ext cx="1976" cy="738"/>
            </a:xfrm>
            <a:custGeom>
              <a:avLst/>
              <a:gdLst>
                <a:gd name="T0" fmla="*/ 1759 w 1976"/>
                <a:gd name="T1" fmla="*/ 501 h 738"/>
                <a:gd name="T2" fmla="*/ 1851 w 1976"/>
                <a:gd name="T3" fmla="*/ 417 h 738"/>
                <a:gd name="T4" fmla="*/ 1876 w 1976"/>
                <a:gd name="T5" fmla="*/ 400 h 738"/>
                <a:gd name="T6" fmla="*/ 1976 w 1976"/>
                <a:gd name="T7" fmla="*/ 268 h 738"/>
                <a:gd name="T8" fmla="*/ 1972 w 1976"/>
                <a:gd name="T9" fmla="*/ 282 h 738"/>
                <a:gd name="T10" fmla="*/ 1956 w 1976"/>
                <a:gd name="T11" fmla="*/ 221 h 738"/>
                <a:gd name="T12" fmla="*/ 1849 w 1976"/>
                <a:gd name="T13" fmla="*/ 8 h 738"/>
                <a:gd name="T14" fmla="*/ 1860 w 1976"/>
                <a:gd name="T15" fmla="*/ 19 h 738"/>
                <a:gd name="T16" fmla="*/ 8 w 1976"/>
                <a:gd name="T17" fmla="*/ 379 h 738"/>
                <a:gd name="T18" fmla="*/ 64 w 1976"/>
                <a:gd name="T19" fmla="*/ 356 h 738"/>
                <a:gd name="T20" fmla="*/ 92 w 1976"/>
                <a:gd name="T21" fmla="*/ 307 h 738"/>
                <a:gd name="T22" fmla="*/ 157 w 1976"/>
                <a:gd name="T23" fmla="*/ 280 h 738"/>
                <a:gd name="T24" fmla="*/ 218 w 1976"/>
                <a:gd name="T25" fmla="*/ 258 h 738"/>
                <a:gd name="T26" fmla="*/ 254 w 1976"/>
                <a:gd name="T27" fmla="*/ 237 h 738"/>
                <a:gd name="T28" fmla="*/ 302 w 1976"/>
                <a:gd name="T29" fmla="*/ 221 h 738"/>
                <a:gd name="T30" fmla="*/ 337 w 1976"/>
                <a:gd name="T31" fmla="*/ 185 h 738"/>
                <a:gd name="T32" fmla="*/ 376 w 1976"/>
                <a:gd name="T33" fmla="*/ 149 h 738"/>
                <a:gd name="T34" fmla="*/ 393 w 1976"/>
                <a:gd name="T35" fmla="*/ 175 h 738"/>
                <a:gd name="T36" fmla="*/ 448 w 1976"/>
                <a:gd name="T37" fmla="*/ 130 h 738"/>
                <a:gd name="T38" fmla="*/ 500 w 1976"/>
                <a:gd name="T39" fmla="*/ 135 h 738"/>
                <a:gd name="T40" fmla="*/ 577 w 1976"/>
                <a:gd name="T41" fmla="*/ 72 h 738"/>
                <a:gd name="T42" fmla="*/ 583 w 1976"/>
                <a:gd name="T43" fmla="*/ 19 h 738"/>
                <a:gd name="T44" fmla="*/ 827 w 1976"/>
                <a:gd name="T45" fmla="*/ 8 h 738"/>
                <a:gd name="T46" fmla="*/ 1074 w 1976"/>
                <a:gd name="T47" fmla="*/ 12 h 738"/>
                <a:gd name="T48" fmla="*/ 1306 w 1976"/>
                <a:gd name="T49" fmla="*/ 14 h 738"/>
                <a:gd name="T50" fmla="*/ 1559 w 1976"/>
                <a:gd name="T51" fmla="*/ 9 h 738"/>
                <a:gd name="T52" fmla="*/ 1781 w 1976"/>
                <a:gd name="T53" fmla="*/ 8 h 738"/>
                <a:gd name="T54" fmla="*/ 1860 w 1976"/>
                <a:gd name="T55" fmla="*/ 42 h 738"/>
                <a:gd name="T56" fmla="*/ 1871 w 1976"/>
                <a:gd name="T57" fmla="*/ 67 h 738"/>
                <a:gd name="T58" fmla="*/ 1865 w 1976"/>
                <a:gd name="T59" fmla="*/ 91 h 738"/>
                <a:gd name="T60" fmla="*/ 1813 w 1976"/>
                <a:gd name="T61" fmla="*/ 77 h 738"/>
                <a:gd name="T62" fmla="*/ 1788 w 1976"/>
                <a:gd name="T63" fmla="*/ 103 h 738"/>
                <a:gd name="T64" fmla="*/ 1723 w 1976"/>
                <a:gd name="T65" fmla="*/ 160 h 738"/>
                <a:gd name="T66" fmla="*/ 1702 w 1976"/>
                <a:gd name="T67" fmla="*/ 81 h 738"/>
                <a:gd name="T68" fmla="*/ 1688 w 1976"/>
                <a:gd name="T69" fmla="*/ 99 h 738"/>
                <a:gd name="T70" fmla="*/ 1765 w 1976"/>
                <a:gd name="T71" fmla="*/ 169 h 738"/>
                <a:gd name="T72" fmla="*/ 1839 w 1976"/>
                <a:gd name="T73" fmla="*/ 230 h 738"/>
                <a:gd name="T74" fmla="*/ 1857 w 1976"/>
                <a:gd name="T75" fmla="*/ 191 h 738"/>
                <a:gd name="T76" fmla="*/ 1879 w 1976"/>
                <a:gd name="T77" fmla="*/ 263 h 738"/>
                <a:gd name="T78" fmla="*/ 1752 w 1976"/>
                <a:gd name="T79" fmla="*/ 299 h 738"/>
                <a:gd name="T80" fmla="*/ 1715 w 1976"/>
                <a:gd name="T81" fmla="*/ 316 h 738"/>
                <a:gd name="T82" fmla="*/ 1716 w 1976"/>
                <a:gd name="T83" fmla="*/ 362 h 738"/>
                <a:gd name="T84" fmla="*/ 1721 w 1976"/>
                <a:gd name="T85" fmla="*/ 398 h 738"/>
                <a:gd name="T86" fmla="*/ 1644 w 1976"/>
                <a:gd name="T87" fmla="*/ 417 h 738"/>
                <a:gd name="T88" fmla="*/ 1650 w 1976"/>
                <a:gd name="T89" fmla="*/ 453 h 738"/>
                <a:gd name="T90" fmla="*/ 1760 w 1976"/>
                <a:gd name="T91" fmla="*/ 451 h 738"/>
                <a:gd name="T92" fmla="*/ 1715 w 1976"/>
                <a:gd name="T93" fmla="*/ 512 h 738"/>
                <a:gd name="T94" fmla="*/ 1512 w 1976"/>
                <a:gd name="T95" fmla="*/ 583 h 738"/>
                <a:gd name="T96" fmla="*/ 1439 w 1976"/>
                <a:gd name="T97" fmla="*/ 655 h 738"/>
                <a:gd name="T98" fmla="*/ 1401 w 1976"/>
                <a:gd name="T99" fmla="*/ 729 h 738"/>
                <a:gd name="T100" fmla="*/ 1085 w 1976"/>
                <a:gd name="T101" fmla="*/ 536 h 738"/>
                <a:gd name="T102" fmla="*/ 838 w 1976"/>
                <a:gd name="T103" fmla="*/ 487 h 738"/>
                <a:gd name="T104" fmla="*/ 757 w 1976"/>
                <a:gd name="T105" fmla="*/ 409 h 738"/>
                <a:gd name="T106" fmla="*/ 729 w 1976"/>
                <a:gd name="T107" fmla="*/ 395 h 738"/>
                <a:gd name="T108" fmla="*/ 523 w 1976"/>
                <a:gd name="T109" fmla="*/ 385 h 738"/>
                <a:gd name="T110" fmla="*/ 437 w 1976"/>
                <a:gd name="T111" fmla="*/ 387 h 738"/>
                <a:gd name="T112" fmla="*/ 401 w 1976"/>
                <a:gd name="T113" fmla="*/ 395 h 738"/>
                <a:gd name="T114" fmla="*/ 360 w 1976"/>
                <a:gd name="T115" fmla="*/ 412 h 738"/>
                <a:gd name="T116" fmla="*/ 178 w 1976"/>
                <a:gd name="T117" fmla="*/ 437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76" h="738">
                  <a:moveTo>
                    <a:pt x="1733" y="547"/>
                  </a:moveTo>
                  <a:lnTo>
                    <a:pt x="1730" y="542"/>
                  </a:lnTo>
                  <a:lnTo>
                    <a:pt x="1733" y="542"/>
                  </a:lnTo>
                  <a:lnTo>
                    <a:pt x="1748" y="519"/>
                  </a:lnTo>
                  <a:lnTo>
                    <a:pt x="1759" y="501"/>
                  </a:lnTo>
                  <a:lnTo>
                    <a:pt x="1771" y="487"/>
                  </a:lnTo>
                  <a:lnTo>
                    <a:pt x="1790" y="470"/>
                  </a:lnTo>
                  <a:lnTo>
                    <a:pt x="1751" y="519"/>
                  </a:lnTo>
                  <a:lnTo>
                    <a:pt x="1733" y="547"/>
                  </a:lnTo>
                  <a:close/>
                  <a:moveTo>
                    <a:pt x="1851" y="417"/>
                  </a:moveTo>
                  <a:lnTo>
                    <a:pt x="1860" y="406"/>
                  </a:lnTo>
                  <a:lnTo>
                    <a:pt x="1887" y="390"/>
                  </a:lnTo>
                  <a:lnTo>
                    <a:pt x="1907" y="385"/>
                  </a:lnTo>
                  <a:lnTo>
                    <a:pt x="1897" y="392"/>
                  </a:lnTo>
                  <a:lnTo>
                    <a:pt x="1876" y="400"/>
                  </a:lnTo>
                  <a:lnTo>
                    <a:pt x="1853" y="417"/>
                  </a:lnTo>
                  <a:lnTo>
                    <a:pt x="1851" y="417"/>
                  </a:lnTo>
                  <a:close/>
                  <a:moveTo>
                    <a:pt x="1969" y="254"/>
                  </a:moveTo>
                  <a:lnTo>
                    <a:pt x="1959" y="226"/>
                  </a:lnTo>
                  <a:lnTo>
                    <a:pt x="1976" y="268"/>
                  </a:lnTo>
                  <a:lnTo>
                    <a:pt x="1961" y="373"/>
                  </a:lnTo>
                  <a:lnTo>
                    <a:pt x="1911" y="385"/>
                  </a:lnTo>
                  <a:lnTo>
                    <a:pt x="1923" y="371"/>
                  </a:lnTo>
                  <a:lnTo>
                    <a:pt x="1961" y="360"/>
                  </a:lnTo>
                  <a:lnTo>
                    <a:pt x="1972" y="282"/>
                  </a:lnTo>
                  <a:lnTo>
                    <a:pt x="1969" y="254"/>
                  </a:lnTo>
                  <a:close/>
                  <a:moveTo>
                    <a:pt x="1876" y="8"/>
                  </a:moveTo>
                  <a:lnTo>
                    <a:pt x="1881" y="9"/>
                  </a:lnTo>
                  <a:lnTo>
                    <a:pt x="1904" y="99"/>
                  </a:lnTo>
                  <a:lnTo>
                    <a:pt x="1956" y="221"/>
                  </a:lnTo>
                  <a:lnTo>
                    <a:pt x="1922" y="149"/>
                  </a:lnTo>
                  <a:lnTo>
                    <a:pt x="1912" y="149"/>
                  </a:lnTo>
                  <a:lnTo>
                    <a:pt x="1903" y="100"/>
                  </a:lnTo>
                  <a:lnTo>
                    <a:pt x="1876" y="8"/>
                  </a:lnTo>
                  <a:close/>
                  <a:moveTo>
                    <a:pt x="1849" y="8"/>
                  </a:moveTo>
                  <a:lnTo>
                    <a:pt x="1856" y="8"/>
                  </a:lnTo>
                  <a:lnTo>
                    <a:pt x="1875" y="12"/>
                  </a:lnTo>
                  <a:lnTo>
                    <a:pt x="1871" y="33"/>
                  </a:lnTo>
                  <a:lnTo>
                    <a:pt x="1859" y="31"/>
                  </a:lnTo>
                  <a:lnTo>
                    <a:pt x="1860" y="19"/>
                  </a:lnTo>
                  <a:lnTo>
                    <a:pt x="1849" y="8"/>
                  </a:lnTo>
                  <a:close/>
                  <a:moveTo>
                    <a:pt x="73" y="440"/>
                  </a:moveTo>
                  <a:lnTo>
                    <a:pt x="45" y="440"/>
                  </a:lnTo>
                  <a:lnTo>
                    <a:pt x="0" y="440"/>
                  </a:lnTo>
                  <a:lnTo>
                    <a:pt x="8" y="379"/>
                  </a:lnTo>
                  <a:lnTo>
                    <a:pt x="20" y="367"/>
                  </a:lnTo>
                  <a:lnTo>
                    <a:pt x="31" y="371"/>
                  </a:lnTo>
                  <a:lnTo>
                    <a:pt x="48" y="370"/>
                  </a:lnTo>
                  <a:lnTo>
                    <a:pt x="62" y="362"/>
                  </a:lnTo>
                  <a:lnTo>
                    <a:pt x="64" y="356"/>
                  </a:lnTo>
                  <a:lnTo>
                    <a:pt x="66" y="346"/>
                  </a:lnTo>
                  <a:lnTo>
                    <a:pt x="69" y="335"/>
                  </a:lnTo>
                  <a:lnTo>
                    <a:pt x="67" y="326"/>
                  </a:lnTo>
                  <a:lnTo>
                    <a:pt x="81" y="313"/>
                  </a:lnTo>
                  <a:lnTo>
                    <a:pt x="92" y="307"/>
                  </a:lnTo>
                  <a:lnTo>
                    <a:pt x="99" y="298"/>
                  </a:lnTo>
                  <a:lnTo>
                    <a:pt x="110" y="295"/>
                  </a:lnTo>
                  <a:lnTo>
                    <a:pt x="120" y="287"/>
                  </a:lnTo>
                  <a:lnTo>
                    <a:pt x="144" y="282"/>
                  </a:lnTo>
                  <a:lnTo>
                    <a:pt x="157" y="280"/>
                  </a:lnTo>
                  <a:lnTo>
                    <a:pt x="169" y="285"/>
                  </a:lnTo>
                  <a:lnTo>
                    <a:pt x="182" y="285"/>
                  </a:lnTo>
                  <a:lnTo>
                    <a:pt x="193" y="273"/>
                  </a:lnTo>
                  <a:lnTo>
                    <a:pt x="208" y="266"/>
                  </a:lnTo>
                  <a:lnTo>
                    <a:pt x="218" y="258"/>
                  </a:lnTo>
                  <a:lnTo>
                    <a:pt x="229" y="258"/>
                  </a:lnTo>
                  <a:lnTo>
                    <a:pt x="236" y="249"/>
                  </a:lnTo>
                  <a:lnTo>
                    <a:pt x="238" y="244"/>
                  </a:lnTo>
                  <a:lnTo>
                    <a:pt x="240" y="241"/>
                  </a:lnTo>
                  <a:lnTo>
                    <a:pt x="254" y="237"/>
                  </a:lnTo>
                  <a:lnTo>
                    <a:pt x="263" y="227"/>
                  </a:lnTo>
                  <a:lnTo>
                    <a:pt x="268" y="227"/>
                  </a:lnTo>
                  <a:lnTo>
                    <a:pt x="282" y="222"/>
                  </a:lnTo>
                  <a:lnTo>
                    <a:pt x="296" y="226"/>
                  </a:lnTo>
                  <a:lnTo>
                    <a:pt x="302" y="221"/>
                  </a:lnTo>
                  <a:lnTo>
                    <a:pt x="315" y="197"/>
                  </a:lnTo>
                  <a:lnTo>
                    <a:pt x="313" y="182"/>
                  </a:lnTo>
                  <a:lnTo>
                    <a:pt x="318" y="177"/>
                  </a:lnTo>
                  <a:lnTo>
                    <a:pt x="327" y="177"/>
                  </a:lnTo>
                  <a:lnTo>
                    <a:pt x="337" y="185"/>
                  </a:lnTo>
                  <a:lnTo>
                    <a:pt x="345" y="175"/>
                  </a:lnTo>
                  <a:lnTo>
                    <a:pt x="345" y="168"/>
                  </a:lnTo>
                  <a:lnTo>
                    <a:pt x="348" y="163"/>
                  </a:lnTo>
                  <a:lnTo>
                    <a:pt x="374" y="149"/>
                  </a:lnTo>
                  <a:lnTo>
                    <a:pt x="376" y="149"/>
                  </a:lnTo>
                  <a:lnTo>
                    <a:pt x="382" y="150"/>
                  </a:lnTo>
                  <a:lnTo>
                    <a:pt x="385" y="155"/>
                  </a:lnTo>
                  <a:lnTo>
                    <a:pt x="382" y="161"/>
                  </a:lnTo>
                  <a:lnTo>
                    <a:pt x="384" y="172"/>
                  </a:lnTo>
                  <a:lnTo>
                    <a:pt x="393" y="175"/>
                  </a:lnTo>
                  <a:lnTo>
                    <a:pt x="404" y="171"/>
                  </a:lnTo>
                  <a:lnTo>
                    <a:pt x="410" y="164"/>
                  </a:lnTo>
                  <a:lnTo>
                    <a:pt x="426" y="142"/>
                  </a:lnTo>
                  <a:lnTo>
                    <a:pt x="432" y="135"/>
                  </a:lnTo>
                  <a:lnTo>
                    <a:pt x="448" y="130"/>
                  </a:lnTo>
                  <a:lnTo>
                    <a:pt x="459" y="130"/>
                  </a:lnTo>
                  <a:lnTo>
                    <a:pt x="472" y="122"/>
                  </a:lnTo>
                  <a:lnTo>
                    <a:pt x="483" y="124"/>
                  </a:lnTo>
                  <a:lnTo>
                    <a:pt x="490" y="136"/>
                  </a:lnTo>
                  <a:lnTo>
                    <a:pt x="500" y="135"/>
                  </a:lnTo>
                  <a:lnTo>
                    <a:pt x="512" y="127"/>
                  </a:lnTo>
                  <a:lnTo>
                    <a:pt x="531" y="89"/>
                  </a:lnTo>
                  <a:lnTo>
                    <a:pt x="537" y="81"/>
                  </a:lnTo>
                  <a:lnTo>
                    <a:pt x="555" y="70"/>
                  </a:lnTo>
                  <a:lnTo>
                    <a:pt x="577" y="72"/>
                  </a:lnTo>
                  <a:lnTo>
                    <a:pt x="583" y="70"/>
                  </a:lnTo>
                  <a:lnTo>
                    <a:pt x="575" y="63"/>
                  </a:lnTo>
                  <a:lnTo>
                    <a:pt x="575" y="55"/>
                  </a:lnTo>
                  <a:lnTo>
                    <a:pt x="584" y="33"/>
                  </a:lnTo>
                  <a:lnTo>
                    <a:pt x="583" y="19"/>
                  </a:lnTo>
                  <a:lnTo>
                    <a:pt x="591" y="0"/>
                  </a:lnTo>
                  <a:lnTo>
                    <a:pt x="663" y="5"/>
                  </a:lnTo>
                  <a:lnTo>
                    <a:pt x="760" y="6"/>
                  </a:lnTo>
                  <a:lnTo>
                    <a:pt x="776" y="6"/>
                  </a:lnTo>
                  <a:lnTo>
                    <a:pt x="827" y="8"/>
                  </a:lnTo>
                  <a:lnTo>
                    <a:pt x="867" y="9"/>
                  </a:lnTo>
                  <a:lnTo>
                    <a:pt x="951" y="12"/>
                  </a:lnTo>
                  <a:lnTo>
                    <a:pt x="958" y="12"/>
                  </a:lnTo>
                  <a:lnTo>
                    <a:pt x="1025" y="12"/>
                  </a:lnTo>
                  <a:lnTo>
                    <a:pt x="1074" y="12"/>
                  </a:lnTo>
                  <a:lnTo>
                    <a:pt x="1138" y="9"/>
                  </a:lnTo>
                  <a:lnTo>
                    <a:pt x="1155" y="12"/>
                  </a:lnTo>
                  <a:lnTo>
                    <a:pt x="1232" y="12"/>
                  </a:lnTo>
                  <a:lnTo>
                    <a:pt x="1243" y="12"/>
                  </a:lnTo>
                  <a:lnTo>
                    <a:pt x="1306" y="14"/>
                  </a:lnTo>
                  <a:lnTo>
                    <a:pt x="1337" y="12"/>
                  </a:lnTo>
                  <a:lnTo>
                    <a:pt x="1396" y="9"/>
                  </a:lnTo>
                  <a:lnTo>
                    <a:pt x="1431" y="9"/>
                  </a:lnTo>
                  <a:lnTo>
                    <a:pt x="1461" y="9"/>
                  </a:lnTo>
                  <a:lnTo>
                    <a:pt x="1559" y="9"/>
                  </a:lnTo>
                  <a:lnTo>
                    <a:pt x="1592" y="8"/>
                  </a:lnTo>
                  <a:lnTo>
                    <a:pt x="1649" y="9"/>
                  </a:lnTo>
                  <a:lnTo>
                    <a:pt x="1729" y="9"/>
                  </a:lnTo>
                  <a:lnTo>
                    <a:pt x="1743" y="9"/>
                  </a:lnTo>
                  <a:lnTo>
                    <a:pt x="1781" y="8"/>
                  </a:lnTo>
                  <a:lnTo>
                    <a:pt x="1826" y="8"/>
                  </a:lnTo>
                  <a:lnTo>
                    <a:pt x="1843" y="8"/>
                  </a:lnTo>
                  <a:lnTo>
                    <a:pt x="1848" y="22"/>
                  </a:lnTo>
                  <a:lnTo>
                    <a:pt x="1834" y="23"/>
                  </a:lnTo>
                  <a:lnTo>
                    <a:pt x="1860" y="42"/>
                  </a:lnTo>
                  <a:lnTo>
                    <a:pt x="1860" y="48"/>
                  </a:lnTo>
                  <a:lnTo>
                    <a:pt x="1856" y="48"/>
                  </a:lnTo>
                  <a:lnTo>
                    <a:pt x="1865" y="61"/>
                  </a:lnTo>
                  <a:lnTo>
                    <a:pt x="1870" y="45"/>
                  </a:lnTo>
                  <a:lnTo>
                    <a:pt x="1871" y="67"/>
                  </a:lnTo>
                  <a:lnTo>
                    <a:pt x="1898" y="131"/>
                  </a:lnTo>
                  <a:lnTo>
                    <a:pt x="1898" y="142"/>
                  </a:lnTo>
                  <a:lnTo>
                    <a:pt x="1887" y="133"/>
                  </a:lnTo>
                  <a:lnTo>
                    <a:pt x="1875" y="95"/>
                  </a:lnTo>
                  <a:lnTo>
                    <a:pt x="1865" y="91"/>
                  </a:lnTo>
                  <a:lnTo>
                    <a:pt x="1868" y="81"/>
                  </a:lnTo>
                  <a:lnTo>
                    <a:pt x="1853" y="73"/>
                  </a:lnTo>
                  <a:lnTo>
                    <a:pt x="1865" y="108"/>
                  </a:lnTo>
                  <a:lnTo>
                    <a:pt x="1859" y="116"/>
                  </a:lnTo>
                  <a:lnTo>
                    <a:pt x="1813" y="77"/>
                  </a:lnTo>
                  <a:lnTo>
                    <a:pt x="1806" y="80"/>
                  </a:lnTo>
                  <a:lnTo>
                    <a:pt x="1829" y="114"/>
                  </a:lnTo>
                  <a:lnTo>
                    <a:pt x="1823" y="122"/>
                  </a:lnTo>
                  <a:lnTo>
                    <a:pt x="1802" y="117"/>
                  </a:lnTo>
                  <a:lnTo>
                    <a:pt x="1788" y="103"/>
                  </a:lnTo>
                  <a:lnTo>
                    <a:pt x="1793" y="133"/>
                  </a:lnTo>
                  <a:lnTo>
                    <a:pt x="1748" y="141"/>
                  </a:lnTo>
                  <a:lnTo>
                    <a:pt x="1760" y="146"/>
                  </a:lnTo>
                  <a:lnTo>
                    <a:pt x="1738" y="161"/>
                  </a:lnTo>
                  <a:lnTo>
                    <a:pt x="1723" y="160"/>
                  </a:lnTo>
                  <a:lnTo>
                    <a:pt x="1710" y="144"/>
                  </a:lnTo>
                  <a:lnTo>
                    <a:pt x="1713" y="152"/>
                  </a:lnTo>
                  <a:lnTo>
                    <a:pt x="1702" y="149"/>
                  </a:lnTo>
                  <a:lnTo>
                    <a:pt x="1693" y="119"/>
                  </a:lnTo>
                  <a:lnTo>
                    <a:pt x="1702" y="81"/>
                  </a:lnTo>
                  <a:lnTo>
                    <a:pt x="1680" y="63"/>
                  </a:lnTo>
                  <a:lnTo>
                    <a:pt x="1649" y="53"/>
                  </a:lnTo>
                  <a:lnTo>
                    <a:pt x="1688" y="77"/>
                  </a:lnTo>
                  <a:lnTo>
                    <a:pt x="1696" y="89"/>
                  </a:lnTo>
                  <a:lnTo>
                    <a:pt x="1688" y="99"/>
                  </a:lnTo>
                  <a:lnTo>
                    <a:pt x="1685" y="124"/>
                  </a:lnTo>
                  <a:lnTo>
                    <a:pt x="1701" y="164"/>
                  </a:lnTo>
                  <a:lnTo>
                    <a:pt x="1690" y="180"/>
                  </a:lnTo>
                  <a:lnTo>
                    <a:pt x="1701" y="179"/>
                  </a:lnTo>
                  <a:lnTo>
                    <a:pt x="1765" y="169"/>
                  </a:lnTo>
                  <a:lnTo>
                    <a:pt x="1771" y="182"/>
                  </a:lnTo>
                  <a:lnTo>
                    <a:pt x="1807" y="169"/>
                  </a:lnTo>
                  <a:lnTo>
                    <a:pt x="1834" y="172"/>
                  </a:lnTo>
                  <a:lnTo>
                    <a:pt x="1849" y="185"/>
                  </a:lnTo>
                  <a:lnTo>
                    <a:pt x="1839" y="230"/>
                  </a:lnTo>
                  <a:lnTo>
                    <a:pt x="1846" y="251"/>
                  </a:lnTo>
                  <a:lnTo>
                    <a:pt x="1817" y="246"/>
                  </a:lnTo>
                  <a:lnTo>
                    <a:pt x="1831" y="255"/>
                  </a:lnTo>
                  <a:lnTo>
                    <a:pt x="1849" y="254"/>
                  </a:lnTo>
                  <a:lnTo>
                    <a:pt x="1857" y="191"/>
                  </a:lnTo>
                  <a:lnTo>
                    <a:pt x="1895" y="185"/>
                  </a:lnTo>
                  <a:lnTo>
                    <a:pt x="1911" y="199"/>
                  </a:lnTo>
                  <a:lnTo>
                    <a:pt x="1915" y="254"/>
                  </a:lnTo>
                  <a:lnTo>
                    <a:pt x="1904" y="279"/>
                  </a:lnTo>
                  <a:lnTo>
                    <a:pt x="1879" y="263"/>
                  </a:lnTo>
                  <a:lnTo>
                    <a:pt x="1843" y="324"/>
                  </a:lnTo>
                  <a:lnTo>
                    <a:pt x="1813" y="343"/>
                  </a:lnTo>
                  <a:lnTo>
                    <a:pt x="1743" y="323"/>
                  </a:lnTo>
                  <a:lnTo>
                    <a:pt x="1735" y="313"/>
                  </a:lnTo>
                  <a:lnTo>
                    <a:pt x="1752" y="299"/>
                  </a:lnTo>
                  <a:lnTo>
                    <a:pt x="1755" y="287"/>
                  </a:lnTo>
                  <a:lnTo>
                    <a:pt x="1740" y="279"/>
                  </a:lnTo>
                  <a:lnTo>
                    <a:pt x="1744" y="288"/>
                  </a:lnTo>
                  <a:lnTo>
                    <a:pt x="1713" y="295"/>
                  </a:lnTo>
                  <a:lnTo>
                    <a:pt x="1715" y="316"/>
                  </a:lnTo>
                  <a:lnTo>
                    <a:pt x="1697" y="324"/>
                  </a:lnTo>
                  <a:lnTo>
                    <a:pt x="1610" y="287"/>
                  </a:lnTo>
                  <a:lnTo>
                    <a:pt x="1635" y="316"/>
                  </a:lnTo>
                  <a:lnTo>
                    <a:pt x="1701" y="342"/>
                  </a:lnTo>
                  <a:lnTo>
                    <a:pt x="1716" y="362"/>
                  </a:lnTo>
                  <a:lnTo>
                    <a:pt x="1723" y="351"/>
                  </a:lnTo>
                  <a:lnTo>
                    <a:pt x="1733" y="354"/>
                  </a:lnTo>
                  <a:lnTo>
                    <a:pt x="1741" y="368"/>
                  </a:lnTo>
                  <a:lnTo>
                    <a:pt x="1712" y="389"/>
                  </a:lnTo>
                  <a:lnTo>
                    <a:pt x="1721" y="398"/>
                  </a:lnTo>
                  <a:lnTo>
                    <a:pt x="1715" y="418"/>
                  </a:lnTo>
                  <a:lnTo>
                    <a:pt x="1704" y="431"/>
                  </a:lnTo>
                  <a:lnTo>
                    <a:pt x="1666" y="442"/>
                  </a:lnTo>
                  <a:lnTo>
                    <a:pt x="1644" y="428"/>
                  </a:lnTo>
                  <a:lnTo>
                    <a:pt x="1644" y="417"/>
                  </a:lnTo>
                  <a:lnTo>
                    <a:pt x="1621" y="412"/>
                  </a:lnTo>
                  <a:lnTo>
                    <a:pt x="1610" y="414"/>
                  </a:lnTo>
                  <a:lnTo>
                    <a:pt x="1607" y="418"/>
                  </a:lnTo>
                  <a:lnTo>
                    <a:pt x="1632" y="423"/>
                  </a:lnTo>
                  <a:lnTo>
                    <a:pt x="1650" y="453"/>
                  </a:lnTo>
                  <a:lnTo>
                    <a:pt x="1712" y="462"/>
                  </a:lnTo>
                  <a:lnTo>
                    <a:pt x="1705" y="445"/>
                  </a:lnTo>
                  <a:lnTo>
                    <a:pt x="1735" y="443"/>
                  </a:lnTo>
                  <a:lnTo>
                    <a:pt x="1755" y="432"/>
                  </a:lnTo>
                  <a:lnTo>
                    <a:pt x="1760" y="451"/>
                  </a:lnTo>
                  <a:lnTo>
                    <a:pt x="1774" y="451"/>
                  </a:lnTo>
                  <a:lnTo>
                    <a:pt x="1781" y="443"/>
                  </a:lnTo>
                  <a:lnTo>
                    <a:pt x="1785" y="451"/>
                  </a:lnTo>
                  <a:lnTo>
                    <a:pt x="1749" y="495"/>
                  </a:lnTo>
                  <a:lnTo>
                    <a:pt x="1715" y="512"/>
                  </a:lnTo>
                  <a:lnTo>
                    <a:pt x="1621" y="517"/>
                  </a:lnTo>
                  <a:lnTo>
                    <a:pt x="1597" y="500"/>
                  </a:lnTo>
                  <a:lnTo>
                    <a:pt x="1603" y="522"/>
                  </a:lnTo>
                  <a:lnTo>
                    <a:pt x="1597" y="528"/>
                  </a:lnTo>
                  <a:lnTo>
                    <a:pt x="1512" y="583"/>
                  </a:lnTo>
                  <a:lnTo>
                    <a:pt x="1501" y="592"/>
                  </a:lnTo>
                  <a:lnTo>
                    <a:pt x="1495" y="589"/>
                  </a:lnTo>
                  <a:lnTo>
                    <a:pt x="1497" y="595"/>
                  </a:lnTo>
                  <a:lnTo>
                    <a:pt x="1465" y="625"/>
                  </a:lnTo>
                  <a:lnTo>
                    <a:pt x="1439" y="655"/>
                  </a:lnTo>
                  <a:lnTo>
                    <a:pt x="1433" y="688"/>
                  </a:lnTo>
                  <a:lnTo>
                    <a:pt x="1425" y="690"/>
                  </a:lnTo>
                  <a:lnTo>
                    <a:pt x="1418" y="655"/>
                  </a:lnTo>
                  <a:lnTo>
                    <a:pt x="1418" y="708"/>
                  </a:lnTo>
                  <a:lnTo>
                    <a:pt x="1401" y="729"/>
                  </a:lnTo>
                  <a:lnTo>
                    <a:pt x="1279" y="738"/>
                  </a:lnTo>
                  <a:lnTo>
                    <a:pt x="1262" y="719"/>
                  </a:lnTo>
                  <a:lnTo>
                    <a:pt x="1169" y="625"/>
                  </a:lnTo>
                  <a:lnTo>
                    <a:pt x="1086" y="541"/>
                  </a:lnTo>
                  <a:lnTo>
                    <a:pt x="1085" y="536"/>
                  </a:lnTo>
                  <a:lnTo>
                    <a:pt x="1037" y="490"/>
                  </a:lnTo>
                  <a:lnTo>
                    <a:pt x="1033" y="489"/>
                  </a:lnTo>
                  <a:lnTo>
                    <a:pt x="979" y="489"/>
                  </a:lnTo>
                  <a:lnTo>
                    <a:pt x="892" y="487"/>
                  </a:lnTo>
                  <a:lnTo>
                    <a:pt x="838" y="487"/>
                  </a:lnTo>
                  <a:lnTo>
                    <a:pt x="785" y="487"/>
                  </a:lnTo>
                  <a:lnTo>
                    <a:pt x="787" y="453"/>
                  </a:lnTo>
                  <a:lnTo>
                    <a:pt x="776" y="436"/>
                  </a:lnTo>
                  <a:lnTo>
                    <a:pt x="765" y="421"/>
                  </a:lnTo>
                  <a:lnTo>
                    <a:pt x="757" y="409"/>
                  </a:lnTo>
                  <a:lnTo>
                    <a:pt x="730" y="426"/>
                  </a:lnTo>
                  <a:lnTo>
                    <a:pt x="724" y="418"/>
                  </a:lnTo>
                  <a:lnTo>
                    <a:pt x="733" y="407"/>
                  </a:lnTo>
                  <a:lnTo>
                    <a:pt x="729" y="400"/>
                  </a:lnTo>
                  <a:lnTo>
                    <a:pt x="729" y="395"/>
                  </a:lnTo>
                  <a:lnTo>
                    <a:pt x="668" y="392"/>
                  </a:lnTo>
                  <a:lnTo>
                    <a:pt x="658" y="392"/>
                  </a:lnTo>
                  <a:lnTo>
                    <a:pt x="569" y="387"/>
                  </a:lnTo>
                  <a:lnTo>
                    <a:pt x="547" y="387"/>
                  </a:lnTo>
                  <a:lnTo>
                    <a:pt x="523" y="385"/>
                  </a:lnTo>
                  <a:lnTo>
                    <a:pt x="472" y="385"/>
                  </a:lnTo>
                  <a:lnTo>
                    <a:pt x="456" y="382"/>
                  </a:lnTo>
                  <a:lnTo>
                    <a:pt x="447" y="387"/>
                  </a:lnTo>
                  <a:lnTo>
                    <a:pt x="439" y="385"/>
                  </a:lnTo>
                  <a:lnTo>
                    <a:pt x="437" y="387"/>
                  </a:lnTo>
                  <a:lnTo>
                    <a:pt x="436" y="387"/>
                  </a:lnTo>
                  <a:lnTo>
                    <a:pt x="431" y="379"/>
                  </a:lnTo>
                  <a:lnTo>
                    <a:pt x="420" y="390"/>
                  </a:lnTo>
                  <a:lnTo>
                    <a:pt x="412" y="389"/>
                  </a:lnTo>
                  <a:lnTo>
                    <a:pt x="401" y="395"/>
                  </a:lnTo>
                  <a:lnTo>
                    <a:pt x="390" y="396"/>
                  </a:lnTo>
                  <a:lnTo>
                    <a:pt x="371" y="404"/>
                  </a:lnTo>
                  <a:lnTo>
                    <a:pt x="365" y="404"/>
                  </a:lnTo>
                  <a:lnTo>
                    <a:pt x="363" y="409"/>
                  </a:lnTo>
                  <a:lnTo>
                    <a:pt x="360" y="412"/>
                  </a:lnTo>
                  <a:lnTo>
                    <a:pt x="346" y="414"/>
                  </a:lnTo>
                  <a:lnTo>
                    <a:pt x="320" y="421"/>
                  </a:lnTo>
                  <a:lnTo>
                    <a:pt x="293" y="431"/>
                  </a:lnTo>
                  <a:lnTo>
                    <a:pt x="269" y="436"/>
                  </a:lnTo>
                  <a:lnTo>
                    <a:pt x="178" y="437"/>
                  </a:lnTo>
                  <a:lnTo>
                    <a:pt x="172" y="440"/>
                  </a:lnTo>
                  <a:lnTo>
                    <a:pt x="84" y="440"/>
                  </a:lnTo>
                  <a:lnTo>
                    <a:pt x="73" y="440"/>
                  </a:lnTo>
                  <a:close/>
                </a:path>
              </a:pathLst>
            </a:custGeom>
            <a:solidFill>
              <a:srgbClr val="ECE8E4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8" name="Freeform 1607">
              <a:extLst>
                <a:ext uri="{FF2B5EF4-FFF2-40B4-BE49-F238E27FC236}">
                  <a16:creationId xmlns:a16="http://schemas.microsoft.com/office/drawing/2014/main" id="{F2623E62-8CAE-4091-9F47-B9CCA6A5E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" y="868"/>
              <a:ext cx="433" cy="314"/>
            </a:xfrm>
            <a:custGeom>
              <a:avLst/>
              <a:gdLst>
                <a:gd name="T0" fmla="*/ 42 w 433"/>
                <a:gd name="T1" fmla="*/ 159 h 314"/>
                <a:gd name="T2" fmla="*/ 46 w 433"/>
                <a:gd name="T3" fmla="*/ 116 h 314"/>
                <a:gd name="T4" fmla="*/ 53 w 433"/>
                <a:gd name="T5" fmla="*/ 0 h 314"/>
                <a:gd name="T6" fmla="*/ 152 w 433"/>
                <a:gd name="T7" fmla="*/ 5 h 314"/>
                <a:gd name="T8" fmla="*/ 160 w 433"/>
                <a:gd name="T9" fmla="*/ 5 h 314"/>
                <a:gd name="T10" fmla="*/ 201 w 433"/>
                <a:gd name="T11" fmla="*/ 7 h 314"/>
                <a:gd name="T12" fmla="*/ 201 w 433"/>
                <a:gd name="T13" fmla="*/ 16 h 314"/>
                <a:gd name="T14" fmla="*/ 213 w 433"/>
                <a:gd name="T15" fmla="*/ 16 h 314"/>
                <a:gd name="T16" fmla="*/ 216 w 433"/>
                <a:gd name="T17" fmla="*/ 5 h 314"/>
                <a:gd name="T18" fmla="*/ 249 w 433"/>
                <a:gd name="T19" fmla="*/ 7 h 314"/>
                <a:gd name="T20" fmla="*/ 249 w 433"/>
                <a:gd name="T21" fmla="*/ 8 h 314"/>
                <a:gd name="T22" fmla="*/ 254 w 433"/>
                <a:gd name="T23" fmla="*/ 8 h 314"/>
                <a:gd name="T24" fmla="*/ 256 w 433"/>
                <a:gd name="T25" fmla="*/ 7 h 314"/>
                <a:gd name="T26" fmla="*/ 271 w 433"/>
                <a:gd name="T27" fmla="*/ 7 h 314"/>
                <a:gd name="T28" fmla="*/ 354 w 433"/>
                <a:gd name="T29" fmla="*/ 8 h 314"/>
                <a:gd name="T30" fmla="*/ 362 w 433"/>
                <a:gd name="T31" fmla="*/ 8 h 314"/>
                <a:gd name="T32" fmla="*/ 428 w 433"/>
                <a:gd name="T33" fmla="*/ 10 h 314"/>
                <a:gd name="T34" fmla="*/ 428 w 433"/>
                <a:gd name="T35" fmla="*/ 15 h 314"/>
                <a:gd name="T36" fmla="*/ 433 w 433"/>
                <a:gd name="T37" fmla="*/ 99 h 314"/>
                <a:gd name="T38" fmla="*/ 431 w 433"/>
                <a:gd name="T39" fmla="*/ 123 h 314"/>
                <a:gd name="T40" fmla="*/ 431 w 433"/>
                <a:gd name="T41" fmla="*/ 135 h 314"/>
                <a:gd name="T42" fmla="*/ 428 w 433"/>
                <a:gd name="T43" fmla="*/ 190 h 314"/>
                <a:gd name="T44" fmla="*/ 419 w 433"/>
                <a:gd name="T45" fmla="*/ 195 h 314"/>
                <a:gd name="T46" fmla="*/ 420 w 433"/>
                <a:gd name="T47" fmla="*/ 214 h 314"/>
                <a:gd name="T48" fmla="*/ 419 w 433"/>
                <a:gd name="T49" fmla="*/ 217 h 314"/>
                <a:gd name="T50" fmla="*/ 414 w 433"/>
                <a:gd name="T51" fmla="*/ 218 h 314"/>
                <a:gd name="T52" fmla="*/ 320 w 433"/>
                <a:gd name="T53" fmla="*/ 231 h 314"/>
                <a:gd name="T54" fmla="*/ 310 w 433"/>
                <a:gd name="T55" fmla="*/ 228 h 314"/>
                <a:gd name="T56" fmla="*/ 299 w 433"/>
                <a:gd name="T57" fmla="*/ 207 h 314"/>
                <a:gd name="T58" fmla="*/ 299 w 433"/>
                <a:gd name="T59" fmla="*/ 232 h 314"/>
                <a:gd name="T60" fmla="*/ 268 w 433"/>
                <a:gd name="T61" fmla="*/ 236 h 314"/>
                <a:gd name="T62" fmla="*/ 182 w 433"/>
                <a:gd name="T63" fmla="*/ 234 h 314"/>
                <a:gd name="T64" fmla="*/ 138 w 433"/>
                <a:gd name="T65" fmla="*/ 265 h 314"/>
                <a:gd name="T66" fmla="*/ 16 w 433"/>
                <a:gd name="T67" fmla="*/ 314 h 314"/>
                <a:gd name="T68" fmla="*/ 16 w 433"/>
                <a:gd name="T69" fmla="*/ 309 h 314"/>
                <a:gd name="T70" fmla="*/ 0 w 433"/>
                <a:gd name="T71" fmla="*/ 283 h 314"/>
                <a:gd name="T72" fmla="*/ 55 w 433"/>
                <a:gd name="T73" fmla="*/ 251 h 314"/>
                <a:gd name="T74" fmla="*/ 38 w 433"/>
                <a:gd name="T75" fmla="*/ 226 h 314"/>
                <a:gd name="T76" fmla="*/ 41 w 433"/>
                <a:gd name="T77" fmla="*/ 206 h 314"/>
                <a:gd name="T78" fmla="*/ 42 w 433"/>
                <a:gd name="T79" fmla="*/ 159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33" h="314">
                  <a:moveTo>
                    <a:pt x="42" y="159"/>
                  </a:moveTo>
                  <a:lnTo>
                    <a:pt x="46" y="116"/>
                  </a:lnTo>
                  <a:lnTo>
                    <a:pt x="53" y="0"/>
                  </a:lnTo>
                  <a:lnTo>
                    <a:pt x="152" y="5"/>
                  </a:lnTo>
                  <a:lnTo>
                    <a:pt x="160" y="5"/>
                  </a:lnTo>
                  <a:lnTo>
                    <a:pt x="201" y="7"/>
                  </a:lnTo>
                  <a:lnTo>
                    <a:pt x="201" y="16"/>
                  </a:lnTo>
                  <a:lnTo>
                    <a:pt x="213" y="16"/>
                  </a:lnTo>
                  <a:lnTo>
                    <a:pt x="216" y="5"/>
                  </a:lnTo>
                  <a:lnTo>
                    <a:pt x="249" y="7"/>
                  </a:lnTo>
                  <a:lnTo>
                    <a:pt x="249" y="8"/>
                  </a:lnTo>
                  <a:lnTo>
                    <a:pt x="254" y="8"/>
                  </a:lnTo>
                  <a:lnTo>
                    <a:pt x="256" y="7"/>
                  </a:lnTo>
                  <a:lnTo>
                    <a:pt x="271" y="7"/>
                  </a:lnTo>
                  <a:lnTo>
                    <a:pt x="354" y="8"/>
                  </a:lnTo>
                  <a:lnTo>
                    <a:pt x="362" y="8"/>
                  </a:lnTo>
                  <a:lnTo>
                    <a:pt x="428" y="10"/>
                  </a:lnTo>
                  <a:lnTo>
                    <a:pt x="428" y="15"/>
                  </a:lnTo>
                  <a:lnTo>
                    <a:pt x="433" y="99"/>
                  </a:lnTo>
                  <a:lnTo>
                    <a:pt x="431" y="123"/>
                  </a:lnTo>
                  <a:lnTo>
                    <a:pt x="431" y="135"/>
                  </a:lnTo>
                  <a:lnTo>
                    <a:pt x="428" y="190"/>
                  </a:lnTo>
                  <a:lnTo>
                    <a:pt x="419" y="195"/>
                  </a:lnTo>
                  <a:lnTo>
                    <a:pt x="420" y="214"/>
                  </a:lnTo>
                  <a:lnTo>
                    <a:pt x="419" y="217"/>
                  </a:lnTo>
                  <a:lnTo>
                    <a:pt x="414" y="218"/>
                  </a:lnTo>
                  <a:lnTo>
                    <a:pt x="320" y="231"/>
                  </a:lnTo>
                  <a:lnTo>
                    <a:pt x="310" y="228"/>
                  </a:lnTo>
                  <a:lnTo>
                    <a:pt x="299" y="207"/>
                  </a:lnTo>
                  <a:lnTo>
                    <a:pt x="299" y="232"/>
                  </a:lnTo>
                  <a:lnTo>
                    <a:pt x="268" y="236"/>
                  </a:lnTo>
                  <a:lnTo>
                    <a:pt x="182" y="234"/>
                  </a:lnTo>
                  <a:lnTo>
                    <a:pt x="138" y="265"/>
                  </a:lnTo>
                  <a:lnTo>
                    <a:pt x="16" y="314"/>
                  </a:lnTo>
                  <a:lnTo>
                    <a:pt x="16" y="309"/>
                  </a:lnTo>
                  <a:lnTo>
                    <a:pt x="0" y="283"/>
                  </a:lnTo>
                  <a:lnTo>
                    <a:pt x="55" y="251"/>
                  </a:lnTo>
                  <a:lnTo>
                    <a:pt x="38" y="226"/>
                  </a:lnTo>
                  <a:lnTo>
                    <a:pt x="41" y="206"/>
                  </a:lnTo>
                  <a:lnTo>
                    <a:pt x="42" y="159"/>
                  </a:lnTo>
                  <a:close/>
                </a:path>
              </a:pathLst>
            </a:custGeom>
            <a:solidFill>
              <a:srgbClr val="ECE8E4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9" name="Freeform 1608">
              <a:extLst>
                <a:ext uri="{FF2B5EF4-FFF2-40B4-BE49-F238E27FC236}">
                  <a16:creationId xmlns:a16="http://schemas.microsoft.com/office/drawing/2014/main" id="{4F0B27E7-9AF4-452A-A330-0B4015AA1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" y="1521"/>
              <a:ext cx="166" cy="399"/>
            </a:xfrm>
            <a:custGeom>
              <a:avLst/>
              <a:gdLst>
                <a:gd name="T0" fmla="*/ 19 w 166"/>
                <a:gd name="T1" fmla="*/ 368 h 399"/>
                <a:gd name="T2" fmla="*/ 19 w 166"/>
                <a:gd name="T3" fmla="*/ 343 h 399"/>
                <a:gd name="T4" fmla="*/ 14 w 166"/>
                <a:gd name="T5" fmla="*/ 291 h 399"/>
                <a:gd name="T6" fmla="*/ 10 w 166"/>
                <a:gd name="T7" fmla="*/ 202 h 399"/>
                <a:gd name="T8" fmla="*/ 6 w 166"/>
                <a:gd name="T9" fmla="*/ 172 h 399"/>
                <a:gd name="T10" fmla="*/ 5 w 166"/>
                <a:gd name="T11" fmla="*/ 158 h 399"/>
                <a:gd name="T12" fmla="*/ 5 w 166"/>
                <a:gd name="T13" fmla="*/ 131 h 399"/>
                <a:gd name="T14" fmla="*/ 0 w 166"/>
                <a:gd name="T15" fmla="*/ 34 h 399"/>
                <a:gd name="T16" fmla="*/ 3 w 166"/>
                <a:gd name="T17" fmla="*/ 34 h 399"/>
                <a:gd name="T18" fmla="*/ 11 w 166"/>
                <a:gd name="T19" fmla="*/ 18 h 399"/>
                <a:gd name="T20" fmla="*/ 22 w 166"/>
                <a:gd name="T21" fmla="*/ 6 h 399"/>
                <a:gd name="T22" fmla="*/ 33 w 166"/>
                <a:gd name="T23" fmla="*/ 1 h 399"/>
                <a:gd name="T24" fmla="*/ 47 w 166"/>
                <a:gd name="T25" fmla="*/ 0 h 399"/>
                <a:gd name="T26" fmla="*/ 71 w 166"/>
                <a:gd name="T27" fmla="*/ 3 h 399"/>
                <a:gd name="T28" fmla="*/ 83 w 166"/>
                <a:gd name="T29" fmla="*/ 12 h 399"/>
                <a:gd name="T30" fmla="*/ 85 w 166"/>
                <a:gd name="T31" fmla="*/ 15 h 399"/>
                <a:gd name="T32" fmla="*/ 80 w 166"/>
                <a:gd name="T33" fmla="*/ 18 h 399"/>
                <a:gd name="T34" fmla="*/ 74 w 166"/>
                <a:gd name="T35" fmla="*/ 22 h 399"/>
                <a:gd name="T36" fmla="*/ 71 w 166"/>
                <a:gd name="T37" fmla="*/ 28 h 399"/>
                <a:gd name="T38" fmla="*/ 69 w 166"/>
                <a:gd name="T39" fmla="*/ 36 h 399"/>
                <a:gd name="T40" fmla="*/ 68 w 166"/>
                <a:gd name="T41" fmla="*/ 37 h 399"/>
                <a:gd name="T42" fmla="*/ 41 w 166"/>
                <a:gd name="T43" fmla="*/ 65 h 399"/>
                <a:gd name="T44" fmla="*/ 50 w 166"/>
                <a:gd name="T45" fmla="*/ 80 h 399"/>
                <a:gd name="T46" fmla="*/ 46 w 166"/>
                <a:gd name="T47" fmla="*/ 109 h 399"/>
                <a:gd name="T48" fmla="*/ 61 w 166"/>
                <a:gd name="T49" fmla="*/ 137 h 399"/>
                <a:gd name="T50" fmla="*/ 86 w 166"/>
                <a:gd name="T51" fmla="*/ 167 h 399"/>
                <a:gd name="T52" fmla="*/ 88 w 166"/>
                <a:gd name="T53" fmla="*/ 221 h 399"/>
                <a:gd name="T54" fmla="*/ 104 w 166"/>
                <a:gd name="T55" fmla="*/ 239 h 399"/>
                <a:gd name="T56" fmla="*/ 107 w 166"/>
                <a:gd name="T57" fmla="*/ 258 h 399"/>
                <a:gd name="T58" fmla="*/ 133 w 166"/>
                <a:gd name="T59" fmla="*/ 297 h 399"/>
                <a:gd name="T60" fmla="*/ 159 w 166"/>
                <a:gd name="T61" fmla="*/ 301 h 399"/>
                <a:gd name="T62" fmla="*/ 166 w 166"/>
                <a:gd name="T63" fmla="*/ 399 h 399"/>
                <a:gd name="T64" fmla="*/ 160 w 166"/>
                <a:gd name="T65" fmla="*/ 399 h 399"/>
                <a:gd name="T66" fmla="*/ 157 w 166"/>
                <a:gd name="T67" fmla="*/ 399 h 399"/>
                <a:gd name="T68" fmla="*/ 97 w 166"/>
                <a:gd name="T69" fmla="*/ 399 h 399"/>
                <a:gd name="T70" fmla="*/ 21 w 166"/>
                <a:gd name="T71" fmla="*/ 395 h 399"/>
                <a:gd name="T72" fmla="*/ 19 w 166"/>
                <a:gd name="T73" fmla="*/ 368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6" h="399">
                  <a:moveTo>
                    <a:pt x="19" y="368"/>
                  </a:moveTo>
                  <a:lnTo>
                    <a:pt x="19" y="343"/>
                  </a:lnTo>
                  <a:lnTo>
                    <a:pt x="14" y="291"/>
                  </a:lnTo>
                  <a:lnTo>
                    <a:pt x="10" y="202"/>
                  </a:lnTo>
                  <a:lnTo>
                    <a:pt x="6" y="172"/>
                  </a:lnTo>
                  <a:lnTo>
                    <a:pt x="5" y="158"/>
                  </a:lnTo>
                  <a:lnTo>
                    <a:pt x="5" y="131"/>
                  </a:lnTo>
                  <a:lnTo>
                    <a:pt x="0" y="34"/>
                  </a:lnTo>
                  <a:lnTo>
                    <a:pt x="3" y="34"/>
                  </a:lnTo>
                  <a:lnTo>
                    <a:pt x="11" y="18"/>
                  </a:lnTo>
                  <a:lnTo>
                    <a:pt x="22" y="6"/>
                  </a:lnTo>
                  <a:lnTo>
                    <a:pt x="33" y="1"/>
                  </a:lnTo>
                  <a:lnTo>
                    <a:pt x="47" y="0"/>
                  </a:lnTo>
                  <a:lnTo>
                    <a:pt x="71" y="3"/>
                  </a:lnTo>
                  <a:lnTo>
                    <a:pt x="83" y="12"/>
                  </a:lnTo>
                  <a:lnTo>
                    <a:pt x="85" y="15"/>
                  </a:lnTo>
                  <a:lnTo>
                    <a:pt x="80" y="18"/>
                  </a:lnTo>
                  <a:lnTo>
                    <a:pt x="74" y="22"/>
                  </a:lnTo>
                  <a:lnTo>
                    <a:pt x="71" y="28"/>
                  </a:lnTo>
                  <a:lnTo>
                    <a:pt x="69" y="36"/>
                  </a:lnTo>
                  <a:lnTo>
                    <a:pt x="68" y="37"/>
                  </a:lnTo>
                  <a:lnTo>
                    <a:pt x="41" y="65"/>
                  </a:lnTo>
                  <a:lnTo>
                    <a:pt x="50" y="80"/>
                  </a:lnTo>
                  <a:lnTo>
                    <a:pt x="46" y="109"/>
                  </a:lnTo>
                  <a:lnTo>
                    <a:pt x="61" y="137"/>
                  </a:lnTo>
                  <a:lnTo>
                    <a:pt x="86" y="167"/>
                  </a:lnTo>
                  <a:lnTo>
                    <a:pt x="88" y="221"/>
                  </a:lnTo>
                  <a:lnTo>
                    <a:pt x="104" y="239"/>
                  </a:lnTo>
                  <a:lnTo>
                    <a:pt x="107" y="258"/>
                  </a:lnTo>
                  <a:lnTo>
                    <a:pt x="133" y="297"/>
                  </a:lnTo>
                  <a:lnTo>
                    <a:pt x="159" y="301"/>
                  </a:lnTo>
                  <a:lnTo>
                    <a:pt x="166" y="399"/>
                  </a:lnTo>
                  <a:lnTo>
                    <a:pt x="160" y="399"/>
                  </a:lnTo>
                  <a:lnTo>
                    <a:pt x="157" y="399"/>
                  </a:lnTo>
                  <a:lnTo>
                    <a:pt x="97" y="399"/>
                  </a:lnTo>
                  <a:lnTo>
                    <a:pt x="21" y="395"/>
                  </a:lnTo>
                  <a:lnTo>
                    <a:pt x="19" y="368"/>
                  </a:lnTo>
                  <a:close/>
                </a:path>
              </a:pathLst>
            </a:custGeom>
            <a:solidFill>
              <a:srgbClr val="ECE8E4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0" name="Freeform 1609">
              <a:extLst>
                <a:ext uri="{FF2B5EF4-FFF2-40B4-BE49-F238E27FC236}">
                  <a16:creationId xmlns:a16="http://schemas.microsoft.com/office/drawing/2014/main" id="{023EA82E-ED75-49DC-9938-0258445051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" y="1555"/>
              <a:ext cx="990" cy="502"/>
            </a:xfrm>
            <a:custGeom>
              <a:avLst/>
              <a:gdLst>
                <a:gd name="T0" fmla="*/ 979 w 990"/>
                <a:gd name="T1" fmla="*/ 403 h 502"/>
                <a:gd name="T2" fmla="*/ 990 w 990"/>
                <a:gd name="T3" fmla="*/ 365 h 502"/>
                <a:gd name="T4" fmla="*/ 702 w 990"/>
                <a:gd name="T5" fmla="*/ 221 h 502"/>
                <a:gd name="T6" fmla="*/ 694 w 990"/>
                <a:gd name="T7" fmla="*/ 249 h 502"/>
                <a:gd name="T8" fmla="*/ 718 w 990"/>
                <a:gd name="T9" fmla="*/ 223 h 502"/>
                <a:gd name="T10" fmla="*/ 921 w 990"/>
                <a:gd name="T11" fmla="*/ 365 h 502"/>
                <a:gd name="T12" fmla="*/ 918 w 990"/>
                <a:gd name="T13" fmla="*/ 475 h 502"/>
                <a:gd name="T14" fmla="*/ 829 w 990"/>
                <a:gd name="T15" fmla="*/ 466 h 502"/>
                <a:gd name="T16" fmla="*/ 801 w 990"/>
                <a:gd name="T17" fmla="*/ 420 h 502"/>
                <a:gd name="T18" fmla="*/ 772 w 990"/>
                <a:gd name="T19" fmla="*/ 403 h 502"/>
                <a:gd name="T20" fmla="*/ 721 w 990"/>
                <a:gd name="T21" fmla="*/ 325 h 502"/>
                <a:gd name="T22" fmla="*/ 749 w 990"/>
                <a:gd name="T23" fmla="*/ 293 h 502"/>
                <a:gd name="T24" fmla="*/ 699 w 990"/>
                <a:gd name="T25" fmla="*/ 295 h 502"/>
                <a:gd name="T26" fmla="*/ 762 w 990"/>
                <a:gd name="T27" fmla="*/ 240 h 502"/>
                <a:gd name="T28" fmla="*/ 754 w 990"/>
                <a:gd name="T29" fmla="*/ 174 h 502"/>
                <a:gd name="T30" fmla="*/ 769 w 990"/>
                <a:gd name="T31" fmla="*/ 105 h 502"/>
                <a:gd name="T32" fmla="*/ 771 w 990"/>
                <a:gd name="T33" fmla="*/ 46 h 502"/>
                <a:gd name="T34" fmla="*/ 689 w 990"/>
                <a:gd name="T35" fmla="*/ 141 h 502"/>
                <a:gd name="T36" fmla="*/ 642 w 990"/>
                <a:gd name="T37" fmla="*/ 157 h 502"/>
                <a:gd name="T38" fmla="*/ 655 w 990"/>
                <a:gd name="T39" fmla="*/ 277 h 502"/>
                <a:gd name="T40" fmla="*/ 683 w 990"/>
                <a:gd name="T41" fmla="*/ 403 h 502"/>
                <a:gd name="T42" fmla="*/ 704 w 990"/>
                <a:gd name="T43" fmla="*/ 480 h 502"/>
                <a:gd name="T44" fmla="*/ 561 w 990"/>
                <a:gd name="T45" fmla="*/ 400 h 502"/>
                <a:gd name="T46" fmla="*/ 526 w 990"/>
                <a:gd name="T47" fmla="*/ 310 h 502"/>
                <a:gd name="T48" fmla="*/ 545 w 990"/>
                <a:gd name="T49" fmla="*/ 288 h 502"/>
                <a:gd name="T50" fmla="*/ 528 w 990"/>
                <a:gd name="T51" fmla="*/ 229 h 502"/>
                <a:gd name="T52" fmla="*/ 476 w 990"/>
                <a:gd name="T53" fmla="*/ 188 h 502"/>
                <a:gd name="T54" fmla="*/ 439 w 990"/>
                <a:gd name="T55" fmla="*/ 165 h 502"/>
                <a:gd name="T56" fmla="*/ 434 w 990"/>
                <a:gd name="T57" fmla="*/ 132 h 502"/>
                <a:gd name="T58" fmla="*/ 388 w 990"/>
                <a:gd name="T59" fmla="*/ 114 h 502"/>
                <a:gd name="T60" fmla="*/ 390 w 990"/>
                <a:gd name="T61" fmla="*/ 93 h 502"/>
                <a:gd name="T62" fmla="*/ 374 w 990"/>
                <a:gd name="T63" fmla="*/ 75 h 502"/>
                <a:gd name="T64" fmla="*/ 365 w 990"/>
                <a:gd name="T65" fmla="*/ 64 h 502"/>
                <a:gd name="T66" fmla="*/ 362 w 990"/>
                <a:gd name="T67" fmla="*/ 60 h 502"/>
                <a:gd name="T68" fmla="*/ 366 w 990"/>
                <a:gd name="T69" fmla="*/ 42 h 502"/>
                <a:gd name="T70" fmla="*/ 354 w 990"/>
                <a:gd name="T71" fmla="*/ 38 h 502"/>
                <a:gd name="T72" fmla="*/ 338 w 990"/>
                <a:gd name="T73" fmla="*/ 31 h 502"/>
                <a:gd name="T74" fmla="*/ 285 w 990"/>
                <a:gd name="T75" fmla="*/ 14 h 502"/>
                <a:gd name="T76" fmla="*/ 254 w 990"/>
                <a:gd name="T77" fmla="*/ 24 h 502"/>
                <a:gd name="T78" fmla="*/ 243 w 990"/>
                <a:gd name="T79" fmla="*/ 39 h 502"/>
                <a:gd name="T80" fmla="*/ 230 w 990"/>
                <a:gd name="T81" fmla="*/ 55 h 502"/>
                <a:gd name="T82" fmla="*/ 189 w 990"/>
                <a:gd name="T83" fmla="*/ 56 h 502"/>
                <a:gd name="T84" fmla="*/ 163 w 990"/>
                <a:gd name="T85" fmla="*/ 41 h 502"/>
                <a:gd name="T86" fmla="*/ 161 w 990"/>
                <a:gd name="T87" fmla="*/ 28 h 502"/>
                <a:gd name="T88" fmla="*/ 152 w 990"/>
                <a:gd name="T89" fmla="*/ 46 h 502"/>
                <a:gd name="T90" fmla="*/ 98 w 990"/>
                <a:gd name="T91" fmla="*/ 69 h 502"/>
                <a:gd name="T92" fmla="*/ 84 w 990"/>
                <a:gd name="T93" fmla="*/ 78 h 502"/>
                <a:gd name="T94" fmla="*/ 47 w 990"/>
                <a:gd name="T95" fmla="*/ 114 h 502"/>
                <a:gd name="T96" fmla="*/ 6 w 990"/>
                <a:gd name="T97" fmla="*/ 147 h 502"/>
                <a:gd name="T98" fmla="*/ 150 w 990"/>
                <a:gd name="T99" fmla="*/ 0 h 502"/>
                <a:gd name="T100" fmla="*/ 451 w 990"/>
                <a:gd name="T101" fmla="*/ 2 h 502"/>
                <a:gd name="T102" fmla="*/ 725 w 990"/>
                <a:gd name="T103" fmla="*/ 2 h 502"/>
                <a:gd name="T104" fmla="*/ 830 w 990"/>
                <a:gd name="T105" fmla="*/ 138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90" h="502">
                  <a:moveTo>
                    <a:pt x="940" y="486"/>
                  </a:moveTo>
                  <a:lnTo>
                    <a:pt x="946" y="483"/>
                  </a:lnTo>
                  <a:lnTo>
                    <a:pt x="954" y="467"/>
                  </a:lnTo>
                  <a:lnTo>
                    <a:pt x="964" y="434"/>
                  </a:lnTo>
                  <a:lnTo>
                    <a:pt x="979" y="403"/>
                  </a:lnTo>
                  <a:lnTo>
                    <a:pt x="962" y="458"/>
                  </a:lnTo>
                  <a:lnTo>
                    <a:pt x="946" y="486"/>
                  </a:lnTo>
                  <a:lnTo>
                    <a:pt x="940" y="486"/>
                  </a:lnTo>
                  <a:close/>
                  <a:moveTo>
                    <a:pt x="984" y="365"/>
                  </a:moveTo>
                  <a:lnTo>
                    <a:pt x="990" y="365"/>
                  </a:lnTo>
                  <a:lnTo>
                    <a:pt x="981" y="401"/>
                  </a:lnTo>
                  <a:lnTo>
                    <a:pt x="984" y="365"/>
                  </a:lnTo>
                  <a:close/>
                  <a:moveTo>
                    <a:pt x="711" y="234"/>
                  </a:moveTo>
                  <a:lnTo>
                    <a:pt x="711" y="218"/>
                  </a:lnTo>
                  <a:lnTo>
                    <a:pt x="702" y="221"/>
                  </a:lnTo>
                  <a:lnTo>
                    <a:pt x="708" y="224"/>
                  </a:lnTo>
                  <a:lnTo>
                    <a:pt x="707" y="234"/>
                  </a:lnTo>
                  <a:lnTo>
                    <a:pt x="700" y="230"/>
                  </a:lnTo>
                  <a:lnTo>
                    <a:pt x="704" y="243"/>
                  </a:lnTo>
                  <a:lnTo>
                    <a:pt x="694" y="249"/>
                  </a:lnTo>
                  <a:lnTo>
                    <a:pt x="699" y="221"/>
                  </a:lnTo>
                  <a:lnTo>
                    <a:pt x="710" y="196"/>
                  </a:lnTo>
                  <a:lnTo>
                    <a:pt x="724" y="215"/>
                  </a:lnTo>
                  <a:lnTo>
                    <a:pt x="724" y="230"/>
                  </a:lnTo>
                  <a:lnTo>
                    <a:pt x="718" y="223"/>
                  </a:lnTo>
                  <a:lnTo>
                    <a:pt x="711" y="234"/>
                  </a:lnTo>
                  <a:close/>
                  <a:moveTo>
                    <a:pt x="843" y="309"/>
                  </a:moveTo>
                  <a:lnTo>
                    <a:pt x="843" y="334"/>
                  </a:lnTo>
                  <a:lnTo>
                    <a:pt x="845" y="361"/>
                  </a:lnTo>
                  <a:lnTo>
                    <a:pt x="921" y="365"/>
                  </a:lnTo>
                  <a:lnTo>
                    <a:pt x="981" y="365"/>
                  </a:lnTo>
                  <a:lnTo>
                    <a:pt x="965" y="387"/>
                  </a:lnTo>
                  <a:lnTo>
                    <a:pt x="967" y="415"/>
                  </a:lnTo>
                  <a:lnTo>
                    <a:pt x="943" y="437"/>
                  </a:lnTo>
                  <a:lnTo>
                    <a:pt x="918" y="475"/>
                  </a:lnTo>
                  <a:lnTo>
                    <a:pt x="918" y="488"/>
                  </a:lnTo>
                  <a:lnTo>
                    <a:pt x="862" y="494"/>
                  </a:lnTo>
                  <a:lnTo>
                    <a:pt x="856" y="502"/>
                  </a:lnTo>
                  <a:lnTo>
                    <a:pt x="809" y="500"/>
                  </a:lnTo>
                  <a:lnTo>
                    <a:pt x="829" y="466"/>
                  </a:lnTo>
                  <a:lnTo>
                    <a:pt x="801" y="445"/>
                  </a:lnTo>
                  <a:lnTo>
                    <a:pt x="815" y="428"/>
                  </a:lnTo>
                  <a:lnTo>
                    <a:pt x="809" y="425"/>
                  </a:lnTo>
                  <a:lnTo>
                    <a:pt x="824" y="419"/>
                  </a:lnTo>
                  <a:lnTo>
                    <a:pt x="801" y="420"/>
                  </a:lnTo>
                  <a:lnTo>
                    <a:pt x="807" y="392"/>
                  </a:lnTo>
                  <a:lnTo>
                    <a:pt x="802" y="387"/>
                  </a:lnTo>
                  <a:lnTo>
                    <a:pt x="790" y="414"/>
                  </a:lnTo>
                  <a:lnTo>
                    <a:pt x="779" y="414"/>
                  </a:lnTo>
                  <a:lnTo>
                    <a:pt x="772" y="403"/>
                  </a:lnTo>
                  <a:lnTo>
                    <a:pt x="763" y="420"/>
                  </a:lnTo>
                  <a:lnTo>
                    <a:pt x="711" y="368"/>
                  </a:lnTo>
                  <a:lnTo>
                    <a:pt x="711" y="357"/>
                  </a:lnTo>
                  <a:lnTo>
                    <a:pt x="735" y="339"/>
                  </a:lnTo>
                  <a:lnTo>
                    <a:pt x="721" y="325"/>
                  </a:lnTo>
                  <a:lnTo>
                    <a:pt x="771" y="331"/>
                  </a:lnTo>
                  <a:lnTo>
                    <a:pt x="771" y="318"/>
                  </a:lnTo>
                  <a:lnTo>
                    <a:pt x="766" y="325"/>
                  </a:lnTo>
                  <a:lnTo>
                    <a:pt x="762" y="320"/>
                  </a:lnTo>
                  <a:lnTo>
                    <a:pt x="749" y="293"/>
                  </a:lnTo>
                  <a:lnTo>
                    <a:pt x="738" y="292"/>
                  </a:lnTo>
                  <a:lnTo>
                    <a:pt x="727" y="276"/>
                  </a:lnTo>
                  <a:lnTo>
                    <a:pt x="718" y="274"/>
                  </a:lnTo>
                  <a:lnTo>
                    <a:pt x="702" y="301"/>
                  </a:lnTo>
                  <a:lnTo>
                    <a:pt x="699" y="295"/>
                  </a:lnTo>
                  <a:lnTo>
                    <a:pt x="718" y="257"/>
                  </a:lnTo>
                  <a:lnTo>
                    <a:pt x="735" y="276"/>
                  </a:lnTo>
                  <a:lnTo>
                    <a:pt x="740" y="268"/>
                  </a:lnTo>
                  <a:lnTo>
                    <a:pt x="752" y="241"/>
                  </a:lnTo>
                  <a:lnTo>
                    <a:pt x="762" y="240"/>
                  </a:lnTo>
                  <a:lnTo>
                    <a:pt x="755" y="238"/>
                  </a:lnTo>
                  <a:lnTo>
                    <a:pt x="757" y="223"/>
                  </a:lnTo>
                  <a:lnTo>
                    <a:pt x="752" y="230"/>
                  </a:lnTo>
                  <a:lnTo>
                    <a:pt x="733" y="215"/>
                  </a:lnTo>
                  <a:lnTo>
                    <a:pt x="754" y="174"/>
                  </a:lnTo>
                  <a:lnTo>
                    <a:pt x="729" y="182"/>
                  </a:lnTo>
                  <a:lnTo>
                    <a:pt x="725" y="172"/>
                  </a:lnTo>
                  <a:lnTo>
                    <a:pt x="729" y="149"/>
                  </a:lnTo>
                  <a:lnTo>
                    <a:pt x="754" y="118"/>
                  </a:lnTo>
                  <a:lnTo>
                    <a:pt x="769" y="105"/>
                  </a:lnTo>
                  <a:lnTo>
                    <a:pt x="810" y="100"/>
                  </a:lnTo>
                  <a:lnTo>
                    <a:pt x="782" y="94"/>
                  </a:lnTo>
                  <a:lnTo>
                    <a:pt x="788" y="74"/>
                  </a:lnTo>
                  <a:lnTo>
                    <a:pt x="783" y="58"/>
                  </a:lnTo>
                  <a:lnTo>
                    <a:pt x="771" y="46"/>
                  </a:lnTo>
                  <a:lnTo>
                    <a:pt x="762" y="52"/>
                  </a:lnTo>
                  <a:lnTo>
                    <a:pt x="744" y="93"/>
                  </a:lnTo>
                  <a:lnTo>
                    <a:pt x="727" y="100"/>
                  </a:lnTo>
                  <a:lnTo>
                    <a:pt x="697" y="96"/>
                  </a:lnTo>
                  <a:lnTo>
                    <a:pt x="689" y="141"/>
                  </a:lnTo>
                  <a:lnTo>
                    <a:pt x="658" y="140"/>
                  </a:lnTo>
                  <a:lnTo>
                    <a:pt x="644" y="133"/>
                  </a:lnTo>
                  <a:lnTo>
                    <a:pt x="652" y="141"/>
                  </a:lnTo>
                  <a:lnTo>
                    <a:pt x="649" y="151"/>
                  </a:lnTo>
                  <a:lnTo>
                    <a:pt x="642" y="157"/>
                  </a:lnTo>
                  <a:lnTo>
                    <a:pt x="646" y="163"/>
                  </a:lnTo>
                  <a:lnTo>
                    <a:pt x="652" y="152"/>
                  </a:lnTo>
                  <a:lnTo>
                    <a:pt x="683" y="174"/>
                  </a:lnTo>
                  <a:lnTo>
                    <a:pt x="672" y="234"/>
                  </a:lnTo>
                  <a:lnTo>
                    <a:pt x="655" y="277"/>
                  </a:lnTo>
                  <a:lnTo>
                    <a:pt x="661" y="292"/>
                  </a:lnTo>
                  <a:lnTo>
                    <a:pt x="664" y="346"/>
                  </a:lnTo>
                  <a:lnTo>
                    <a:pt x="691" y="383"/>
                  </a:lnTo>
                  <a:lnTo>
                    <a:pt x="688" y="395"/>
                  </a:lnTo>
                  <a:lnTo>
                    <a:pt x="683" y="403"/>
                  </a:lnTo>
                  <a:lnTo>
                    <a:pt x="672" y="400"/>
                  </a:lnTo>
                  <a:lnTo>
                    <a:pt x="663" y="376"/>
                  </a:lnTo>
                  <a:lnTo>
                    <a:pt x="635" y="365"/>
                  </a:lnTo>
                  <a:lnTo>
                    <a:pt x="700" y="433"/>
                  </a:lnTo>
                  <a:lnTo>
                    <a:pt x="704" y="480"/>
                  </a:lnTo>
                  <a:lnTo>
                    <a:pt x="649" y="431"/>
                  </a:lnTo>
                  <a:lnTo>
                    <a:pt x="608" y="428"/>
                  </a:lnTo>
                  <a:lnTo>
                    <a:pt x="584" y="383"/>
                  </a:lnTo>
                  <a:lnTo>
                    <a:pt x="575" y="409"/>
                  </a:lnTo>
                  <a:lnTo>
                    <a:pt x="561" y="400"/>
                  </a:lnTo>
                  <a:lnTo>
                    <a:pt x="555" y="373"/>
                  </a:lnTo>
                  <a:lnTo>
                    <a:pt x="506" y="383"/>
                  </a:lnTo>
                  <a:lnTo>
                    <a:pt x="498" y="376"/>
                  </a:lnTo>
                  <a:lnTo>
                    <a:pt x="492" y="356"/>
                  </a:lnTo>
                  <a:lnTo>
                    <a:pt x="526" y="310"/>
                  </a:lnTo>
                  <a:lnTo>
                    <a:pt x="526" y="301"/>
                  </a:lnTo>
                  <a:lnTo>
                    <a:pt x="534" y="293"/>
                  </a:lnTo>
                  <a:lnTo>
                    <a:pt x="536" y="288"/>
                  </a:lnTo>
                  <a:lnTo>
                    <a:pt x="542" y="292"/>
                  </a:lnTo>
                  <a:lnTo>
                    <a:pt x="545" y="288"/>
                  </a:lnTo>
                  <a:lnTo>
                    <a:pt x="545" y="268"/>
                  </a:lnTo>
                  <a:lnTo>
                    <a:pt x="573" y="240"/>
                  </a:lnTo>
                  <a:lnTo>
                    <a:pt x="553" y="218"/>
                  </a:lnTo>
                  <a:lnTo>
                    <a:pt x="545" y="210"/>
                  </a:lnTo>
                  <a:lnTo>
                    <a:pt x="528" y="229"/>
                  </a:lnTo>
                  <a:lnTo>
                    <a:pt x="520" y="219"/>
                  </a:lnTo>
                  <a:lnTo>
                    <a:pt x="500" y="215"/>
                  </a:lnTo>
                  <a:lnTo>
                    <a:pt x="498" y="201"/>
                  </a:lnTo>
                  <a:lnTo>
                    <a:pt x="482" y="191"/>
                  </a:lnTo>
                  <a:lnTo>
                    <a:pt x="476" y="188"/>
                  </a:lnTo>
                  <a:lnTo>
                    <a:pt x="457" y="188"/>
                  </a:lnTo>
                  <a:lnTo>
                    <a:pt x="453" y="185"/>
                  </a:lnTo>
                  <a:lnTo>
                    <a:pt x="448" y="179"/>
                  </a:lnTo>
                  <a:lnTo>
                    <a:pt x="442" y="176"/>
                  </a:lnTo>
                  <a:lnTo>
                    <a:pt x="439" y="165"/>
                  </a:lnTo>
                  <a:lnTo>
                    <a:pt x="448" y="158"/>
                  </a:lnTo>
                  <a:lnTo>
                    <a:pt x="453" y="146"/>
                  </a:lnTo>
                  <a:lnTo>
                    <a:pt x="451" y="143"/>
                  </a:lnTo>
                  <a:lnTo>
                    <a:pt x="445" y="136"/>
                  </a:lnTo>
                  <a:lnTo>
                    <a:pt x="434" y="132"/>
                  </a:lnTo>
                  <a:lnTo>
                    <a:pt x="428" y="122"/>
                  </a:lnTo>
                  <a:lnTo>
                    <a:pt x="417" y="122"/>
                  </a:lnTo>
                  <a:lnTo>
                    <a:pt x="403" y="118"/>
                  </a:lnTo>
                  <a:lnTo>
                    <a:pt x="392" y="118"/>
                  </a:lnTo>
                  <a:lnTo>
                    <a:pt x="388" y="114"/>
                  </a:lnTo>
                  <a:lnTo>
                    <a:pt x="387" y="111"/>
                  </a:lnTo>
                  <a:lnTo>
                    <a:pt x="388" y="105"/>
                  </a:lnTo>
                  <a:lnTo>
                    <a:pt x="387" y="100"/>
                  </a:lnTo>
                  <a:lnTo>
                    <a:pt x="390" y="94"/>
                  </a:lnTo>
                  <a:lnTo>
                    <a:pt x="390" y="93"/>
                  </a:lnTo>
                  <a:lnTo>
                    <a:pt x="387" y="86"/>
                  </a:lnTo>
                  <a:lnTo>
                    <a:pt x="376" y="85"/>
                  </a:lnTo>
                  <a:lnTo>
                    <a:pt x="374" y="83"/>
                  </a:lnTo>
                  <a:lnTo>
                    <a:pt x="376" y="78"/>
                  </a:lnTo>
                  <a:lnTo>
                    <a:pt x="374" y="75"/>
                  </a:lnTo>
                  <a:lnTo>
                    <a:pt x="381" y="77"/>
                  </a:lnTo>
                  <a:lnTo>
                    <a:pt x="376" y="69"/>
                  </a:lnTo>
                  <a:lnTo>
                    <a:pt x="382" y="66"/>
                  </a:lnTo>
                  <a:lnTo>
                    <a:pt x="371" y="66"/>
                  </a:lnTo>
                  <a:lnTo>
                    <a:pt x="365" y="64"/>
                  </a:lnTo>
                  <a:lnTo>
                    <a:pt x="371" y="61"/>
                  </a:lnTo>
                  <a:lnTo>
                    <a:pt x="370" y="56"/>
                  </a:lnTo>
                  <a:lnTo>
                    <a:pt x="370" y="58"/>
                  </a:lnTo>
                  <a:lnTo>
                    <a:pt x="366" y="56"/>
                  </a:lnTo>
                  <a:lnTo>
                    <a:pt x="362" y="60"/>
                  </a:lnTo>
                  <a:lnTo>
                    <a:pt x="362" y="50"/>
                  </a:lnTo>
                  <a:lnTo>
                    <a:pt x="356" y="49"/>
                  </a:lnTo>
                  <a:lnTo>
                    <a:pt x="357" y="47"/>
                  </a:lnTo>
                  <a:lnTo>
                    <a:pt x="365" y="46"/>
                  </a:lnTo>
                  <a:lnTo>
                    <a:pt x="366" y="42"/>
                  </a:lnTo>
                  <a:lnTo>
                    <a:pt x="366" y="33"/>
                  </a:lnTo>
                  <a:lnTo>
                    <a:pt x="363" y="36"/>
                  </a:lnTo>
                  <a:lnTo>
                    <a:pt x="356" y="31"/>
                  </a:lnTo>
                  <a:lnTo>
                    <a:pt x="356" y="36"/>
                  </a:lnTo>
                  <a:lnTo>
                    <a:pt x="354" y="38"/>
                  </a:lnTo>
                  <a:lnTo>
                    <a:pt x="345" y="30"/>
                  </a:lnTo>
                  <a:lnTo>
                    <a:pt x="343" y="31"/>
                  </a:lnTo>
                  <a:lnTo>
                    <a:pt x="346" y="38"/>
                  </a:lnTo>
                  <a:lnTo>
                    <a:pt x="345" y="39"/>
                  </a:lnTo>
                  <a:lnTo>
                    <a:pt x="338" y="31"/>
                  </a:lnTo>
                  <a:lnTo>
                    <a:pt x="334" y="36"/>
                  </a:lnTo>
                  <a:lnTo>
                    <a:pt x="326" y="30"/>
                  </a:lnTo>
                  <a:lnTo>
                    <a:pt x="310" y="14"/>
                  </a:lnTo>
                  <a:lnTo>
                    <a:pt x="291" y="9"/>
                  </a:lnTo>
                  <a:lnTo>
                    <a:pt x="285" y="14"/>
                  </a:lnTo>
                  <a:lnTo>
                    <a:pt x="280" y="14"/>
                  </a:lnTo>
                  <a:lnTo>
                    <a:pt x="280" y="19"/>
                  </a:lnTo>
                  <a:lnTo>
                    <a:pt x="274" y="24"/>
                  </a:lnTo>
                  <a:lnTo>
                    <a:pt x="271" y="30"/>
                  </a:lnTo>
                  <a:lnTo>
                    <a:pt x="254" y="24"/>
                  </a:lnTo>
                  <a:lnTo>
                    <a:pt x="252" y="27"/>
                  </a:lnTo>
                  <a:lnTo>
                    <a:pt x="247" y="27"/>
                  </a:lnTo>
                  <a:lnTo>
                    <a:pt x="246" y="31"/>
                  </a:lnTo>
                  <a:lnTo>
                    <a:pt x="235" y="30"/>
                  </a:lnTo>
                  <a:lnTo>
                    <a:pt x="243" y="39"/>
                  </a:lnTo>
                  <a:lnTo>
                    <a:pt x="230" y="38"/>
                  </a:lnTo>
                  <a:lnTo>
                    <a:pt x="229" y="41"/>
                  </a:lnTo>
                  <a:lnTo>
                    <a:pt x="238" y="50"/>
                  </a:lnTo>
                  <a:lnTo>
                    <a:pt x="233" y="50"/>
                  </a:lnTo>
                  <a:lnTo>
                    <a:pt x="230" y="55"/>
                  </a:lnTo>
                  <a:lnTo>
                    <a:pt x="225" y="58"/>
                  </a:lnTo>
                  <a:lnTo>
                    <a:pt x="218" y="58"/>
                  </a:lnTo>
                  <a:lnTo>
                    <a:pt x="207" y="58"/>
                  </a:lnTo>
                  <a:lnTo>
                    <a:pt x="197" y="55"/>
                  </a:lnTo>
                  <a:lnTo>
                    <a:pt x="189" y="56"/>
                  </a:lnTo>
                  <a:lnTo>
                    <a:pt x="188" y="55"/>
                  </a:lnTo>
                  <a:lnTo>
                    <a:pt x="183" y="55"/>
                  </a:lnTo>
                  <a:lnTo>
                    <a:pt x="172" y="47"/>
                  </a:lnTo>
                  <a:lnTo>
                    <a:pt x="169" y="42"/>
                  </a:lnTo>
                  <a:lnTo>
                    <a:pt x="163" y="41"/>
                  </a:lnTo>
                  <a:lnTo>
                    <a:pt x="160" y="36"/>
                  </a:lnTo>
                  <a:lnTo>
                    <a:pt x="169" y="33"/>
                  </a:lnTo>
                  <a:lnTo>
                    <a:pt x="169" y="30"/>
                  </a:lnTo>
                  <a:lnTo>
                    <a:pt x="169" y="28"/>
                  </a:lnTo>
                  <a:lnTo>
                    <a:pt x="161" y="28"/>
                  </a:lnTo>
                  <a:lnTo>
                    <a:pt x="160" y="22"/>
                  </a:lnTo>
                  <a:lnTo>
                    <a:pt x="153" y="27"/>
                  </a:lnTo>
                  <a:lnTo>
                    <a:pt x="153" y="31"/>
                  </a:lnTo>
                  <a:lnTo>
                    <a:pt x="147" y="39"/>
                  </a:lnTo>
                  <a:lnTo>
                    <a:pt x="152" y="46"/>
                  </a:lnTo>
                  <a:lnTo>
                    <a:pt x="145" y="47"/>
                  </a:lnTo>
                  <a:lnTo>
                    <a:pt x="138" y="56"/>
                  </a:lnTo>
                  <a:lnTo>
                    <a:pt x="119" y="75"/>
                  </a:lnTo>
                  <a:lnTo>
                    <a:pt x="116" y="83"/>
                  </a:lnTo>
                  <a:lnTo>
                    <a:pt x="98" y="69"/>
                  </a:lnTo>
                  <a:lnTo>
                    <a:pt x="94" y="69"/>
                  </a:lnTo>
                  <a:lnTo>
                    <a:pt x="92" y="74"/>
                  </a:lnTo>
                  <a:lnTo>
                    <a:pt x="84" y="74"/>
                  </a:lnTo>
                  <a:lnTo>
                    <a:pt x="87" y="75"/>
                  </a:lnTo>
                  <a:lnTo>
                    <a:pt x="84" y="78"/>
                  </a:lnTo>
                  <a:lnTo>
                    <a:pt x="80" y="88"/>
                  </a:lnTo>
                  <a:lnTo>
                    <a:pt x="73" y="91"/>
                  </a:lnTo>
                  <a:lnTo>
                    <a:pt x="72" y="96"/>
                  </a:lnTo>
                  <a:lnTo>
                    <a:pt x="51" y="107"/>
                  </a:lnTo>
                  <a:lnTo>
                    <a:pt x="47" y="114"/>
                  </a:lnTo>
                  <a:lnTo>
                    <a:pt x="44" y="122"/>
                  </a:lnTo>
                  <a:lnTo>
                    <a:pt x="33" y="124"/>
                  </a:lnTo>
                  <a:lnTo>
                    <a:pt x="23" y="132"/>
                  </a:lnTo>
                  <a:lnTo>
                    <a:pt x="9" y="147"/>
                  </a:lnTo>
                  <a:lnTo>
                    <a:pt x="6" y="147"/>
                  </a:lnTo>
                  <a:lnTo>
                    <a:pt x="0" y="151"/>
                  </a:lnTo>
                  <a:lnTo>
                    <a:pt x="1" y="2"/>
                  </a:lnTo>
                  <a:lnTo>
                    <a:pt x="20" y="2"/>
                  </a:lnTo>
                  <a:lnTo>
                    <a:pt x="125" y="0"/>
                  </a:lnTo>
                  <a:lnTo>
                    <a:pt x="150" y="0"/>
                  </a:lnTo>
                  <a:lnTo>
                    <a:pt x="246" y="0"/>
                  </a:lnTo>
                  <a:lnTo>
                    <a:pt x="257" y="0"/>
                  </a:lnTo>
                  <a:lnTo>
                    <a:pt x="310" y="0"/>
                  </a:lnTo>
                  <a:lnTo>
                    <a:pt x="448" y="2"/>
                  </a:lnTo>
                  <a:lnTo>
                    <a:pt x="451" y="2"/>
                  </a:lnTo>
                  <a:lnTo>
                    <a:pt x="506" y="2"/>
                  </a:lnTo>
                  <a:lnTo>
                    <a:pt x="555" y="2"/>
                  </a:lnTo>
                  <a:lnTo>
                    <a:pt x="602" y="2"/>
                  </a:lnTo>
                  <a:lnTo>
                    <a:pt x="652" y="2"/>
                  </a:lnTo>
                  <a:lnTo>
                    <a:pt x="725" y="2"/>
                  </a:lnTo>
                  <a:lnTo>
                    <a:pt x="746" y="0"/>
                  </a:lnTo>
                  <a:lnTo>
                    <a:pt x="824" y="0"/>
                  </a:lnTo>
                  <a:lnTo>
                    <a:pt x="829" y="97"/>
                  </a:lnTo>
                  <a:lnTo>
                    <a:pt x="829" y="124"/>
                  </a:lnTo>
                  <a:lnTo>
                    <a:pt x="830" y="138"/>
                  </a:lnTo>
                  <a:lnTo>
                    <a:pt x="834" y="168"/>
                  </a:lnTo>
                  <a:lnTo>
                    <a:pt x="838" y="257"/>
                  </a:lnTo>
                  <a:lnTo>
                    <a:pt x="843" y="309"/>
                  </a:lnTo>
                  <a:close/>
                </a:path>
              </a:pathLst>
            </a:custGeom>
            <a:solidFill>
              <a:srgbClr val="ECE8E4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1" name="Freeform 1610">
              <a:extLst>
                <a:ext uri="{FF2B5EF4-FFF2-40B4-BE49-F238E27FC236}">
                  <a16:creationId xmlns:a16="http://schemas.microsoft.com/office/drawing/2014/main" id="{D35C71A1-C5DF-4D52-81A3-B22C1BAC63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" y="615"/>
              <a:ext cx="798" cy="496"/>
            </a:xfrm>
            <a:custGeom>
              <a:avLst/>
              <a:gdLst>
                <a:gd name="T0" fmla="*/ 778 w 798"/>
                <a:gd name="T1" fmla="*/ 470 h 496"/>
                <a:gd name="T2" fmla="*/ 761 w 798"/>
                <a:gd name="T3" fmla="*/ 479 h 496"/>
                <a:gd name="T4" fmla="*/ 768 w 798"/>
                <a:gd name="T5" fmla="*/ 451 h 496"/>
                <a:gd name="T6" fmla="*/ 787 w 798"/>
                <a:gd name="T7" fmla="*/ 493 h 496"/>
                <a:gd name="T8" fmla="*/ 732 w 798"/>
                <a:gd name="T9" fmla="*/ 487 h 496"/>
                <a:gd name="T10" fmla="*/ 759 w 798"/>
                <a:gd name="T11" fmla="*/ 485 h 496"/>
                <a:gd name="T12" fmla="*/ 646 w 798"/>
                <a:gd name="T13" fmla="*/ 440 h 496"/>
                <a:gd name="T14" fmla="*/ 657 w 798"/>
                <a:gd name="T15" fmla="*/ 443 h 496"/>
                <a:gd name="T16" fmla="*/ 665 w 798"/>
                <a:gd name="T17" fmla="*/ 449 h 496"/>
                <a:gd name="T18" fmla="*/ 615 w 798"/>
                <a:gd name="T19" fmla="*/ 468 h 496"/>
                <a:gd name="T20" fmla="*/ 593 w 798"/>
                <a:gd name="T21" fmla="*/ 464 h 496"/>
                <a:gd name="T22" fmla="*/ 607 w 798"/>
                <a:gd name="T23" fmla="*/ 470 h 496"/>
                <a:gd name="T24" fmla="*/ 630 w 798"/>
                <a:gd name="T25" fmla="*/ 432 h 496"/>
                <a:gd name="T26" fmla="*/ 646 w 798"/>
                <a:gd name="T27" fmla="*/ 440 h 496"/>
                <a:gd name="T28" fmla="*/ 481 w 798"/>
                <a:gd name="T29" fmla="*/ 333 h 496"/>
                <a:gd name="T30" fmla="*/ 483 w 798"/>
                <a:gd name="T31" fmla="*/ 311 h 496"/>
                <a:gd name="T32" fmla="*/ 483 w 798"/>
                <a:gd name="T33" fmla="*/ 299 h 496"/>
                <a:gd name="T34" fmla="*/ 471 w 798"/>
                <a:gd name="T35" fmla="*/ 275 h 496"/>
                <a:gd name="T36" fmla="*/ 447 w 798"/>
                <a:gd name="T37" fmla="*/ 266 h 496"/>
                <a:gd name="T38" fmla="*/ 378 w 798"/>
                <a:gd name="T39" fmla="*/ 263 h 496"/>
                <a:gd name="T40" fmla="*/ 304 w 798"/>
                <a:gd name="T41" fmla="*/ 261 h 496"/>
                <a:gd name="T42" fmla="*/ 206 w 798"/>
                <a:gd name="T43" fmla="*/ 260 h 496"/>
                <a:gd name="T44" fmla="*/ 199 w 798"/>
                <a:gd name="T45" fmla="*/ 261 h 496"/>
                <a:gd name="T46" fmla="*/ 166 w 798"/>
                <a:gd name="T47" fmla="*/ 258 h 496"/>
                <a:gd name="T48" fmla="*/ 151 w 798"/>
                <a:gd name="T49" fmla="*/ 269 h 496"/>
                <a:gd name="T50" fmla="*/ 110 w 798"/>
                <a:gd name="T51" fmla="*/ 258 h 496"/>
                <a:gd name="T52" fmla="*/ 3 w 798"/>
                <a:gd name="T53" fmla="*/ 253 h 496"/>
                <a:gd name="T54" fmla="*/ 33 w 798"/>
                <a:gd name="T55" fmla="*/ 117 h 496"/>
                <a:gd name="T56" fmla="*/ 108 w 798"/>
                <a:gd name="T57" fmla="*/ 45 h 496"/>
                <a:gd name="T58" fmla="*/ 232 w 798"/>
                <a:gd name="T59" fmla="*/ 50 h 496"/>
                <a:gd name="T60" fmla="*/ 350 w 798"/>
                <a:gd name="T61" fmla="*/ 56 h 496"/>
                <a:gd name="T62" fmla="*/ 494 w 798"/>
                <a:gd name="T63" fmla="*/ 59 h 496"/>
                <a:gd name="T64" fmla="*/ 503 w 798"/>
                <a:gd name="T65" fmla="*/ 43 h 496"/>
                <a:gd name="T66" fmla="*/ 516 w 798"/>
                <a:gd name="T67" fmla="*/ 25 h 496"/>
                <a:gd name="T68" fmla="*/ 543 w 798"/>
                <a:gd name="T69" fmla="*/ 26 h 496"/>
                <a:gd name="T70" fmla="*/ 576 w 798"/>
                <a:gd name="T71" fmla="*/ 3 h 496"/>
                <a:gd name="T72" fmla="*/ 591 w 798"/>
                <a:gd name="T73" fmla="*/ 7 h 496"/>
                <a:gd name="T74" fmla="*/ 615 w 798"/>
                <a:gd name="T75" fmla="*/ 69 h 496"/>
                <a:gd name="T76" fmla="*/ 638 w 798"/>
                <a:gd name="T77" fmla="*/ 94 h 496"/>
                <a:gd name="T78" fmla="*/ 582 w 798"/>
                <a:gd name="T79" fmla="*/ 134 h 496"/>
                <a:gd name="T80" fmla="*/ 549 w 798"/>
                <a:gd name="T81" fmla="*/ 185 h 496"/>
                <a:gd name="T82" fmla="*/ 582 w 798"/>
                <a:gd name="T83" fmla="*/ 189 h 496"/>
                <a:gd name="T84" fmla="*/ 607 w 798"/>
                <a:gd name="T85" fmla="*/ 194 h 496"/>
                <a:gd name="T86" fmla="*/ 641 w 798"/>
                <a:gd name="T87" fmla="*/ 279 h 496"/>
                <a:gd name="T88" fmla="*/ 660 w 798"/>
                <a:gd name="T89" fmla="*/ 327 h 496"/>
                <a:gd name="T90" fmla="*/ 720 w 798"/>
                <a:gd name="T91" fmla="*/ 352 h 496"/>
                <a:gd name="T92" fmla="*/ 734 w 798"/>
                <a:gd name="T93" fmla="*/ 354 h 496"/>
                <a:gd name="T94" fmla="*/ 779 w 798"/>
                <a:gd name="T95" fmla="*/ 313 h 496"/>
                <a:gd name="T96" fmla="*/ 723 w 798"/>
                <a:gd name="T97" fmla="*/ 250 h 496"/>
                <a:gd name="T98" fmla="*/ 768 w 798"/>
                <a:gd name="T99" fmla="*/ 261 h 496"/>
                <a:gd name="T100" fmla="*/ 798 w 798"/>
                <a:gd name="T101" fmla="*/ 340 h 496"/>
                <a:gd name="T102" fmla="*/ 692 w 798"/>
                <a:gd name="T103" fmla="*/ 385 h 496"/>
                <a:gd name="T104" fmla="*/ 638 w 798"/>
                <a:gd name="T105" fmla="*/ 406 h 496"/>
                <a:gd name="T106" fmla="*/ 641 w 798"/>
                <a:gd name="T107" fmla="*/ 349 h 496"/>
                <a:gd name="T108" fmla="*/ 582 w 798"/>
                <a:gd name="T109" fmla="*/ 379 h 496"/>
                <a:gd name="T110" fmla="*/ 532 w 798"/>
                <a:gd name="T111" fmla="*/ 421 h 496"/>
                <a:gd name="T112" fmla="*/ 513 w 798"/>
                <a:gd name="T113" fmla="*/ 366 h 496"/>
                <a:gd name="T114" fmla="*/ 497 w 798"/>
                <a:gd name="T115" fmla="*/ 343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98" h="496">
                  <a:moveTo>
                    <a:pt x="773" y="473"/>
                  </a:moveTo>
                  <a:lnTo>
                    <a:pt x="778" y="470"/>
                  </a:lnTo>
                  <a:lnTo>
                    <a:pt x="775" y="467"/>
                  </a:lnTo>
                  <a:lnTo>
                    <a:pt x="761" y="479"/>
                  </a:lnTo>
                  <a:lnTo>
                    <a:pt x="773" y="462"/>
                  </a:lnTo>
                  <a:lnTo>
                    <a:pt x="768" y="451"/>
                  </a:lnTo>
                  <a:lnTo>
                    <a:pt x="787" y="479"/>
                  </a:lnTo>
                  <a:lnTo>
                    <a:pt x="787" y="493"/>
                  </a:lnTo>
                  <a:lnTo>
                    <a:pt x="757" y="496"/>
                  </a:lnTo>
                  <a:lnTo>
                    <a:pt x="732" y="487"/>
                  </a:lnTo>
                  <a:lnTo>
                    <a:pt x="734" y="479"/>
                  </a:lnTo>
                  <a:lnTo>
                    <a:pt x="759" y="485"/>
                  </a:lnTo>
                  <a:lnTo>
                    <a:pt x="773" y="473"/>
                  </a:lnTo>
                  <a:close/>
                  <a:moveTo>
                    <a:pt x="646" y="440"/>
                  </a:moveTo>
                  <a:lnTo>
                    <a:pt x="652" y="427"/>
                  </a:lnTo>
                  <a:lnTo>
                    <a:pt x="657" y="443"/>
                  </a:lnTo>
                  <a:lnTo>
                    <a:pt x="651" y="445"/>
                  </a:lnTo>
                  <a:lnTo>
                    <a:pt x="665" y="449"/>
                  </a:lnTo>
                  <a:lnTo>
                    <a:pt x="673" y="467"/>
                  </a:lnTo>
                  <a:lnTo>
                    <a:pt x="615" y="468"/>
                  </a:lnTo>
                  <a:lnTo>
                    <a:pt x="607" y="478"/>
                  </a:lnTo>
                  <a:lnTo>
                    <a:pt x="593" y="464"/>
                  </a:lnTo>
                  <a:lnTo>
                    <a:pt x="605" y="462"/>
                  </a:lnTo>
                  <a:lnTo>
                    <a:pt x="607" y="470"/>
                  </a:lnTo>
                  <a:lnTo>
                    <a:pt x="613" y="453"/>
                  </a:lnTo>
                  <a:lnTo>
                    <a:pt x="630" y="432"/>
                  </a:lnTo>
                  <a:lnTo>
                    <a:pt x="646" y="426"/>
                  </a:lnTo>
                  <a:lnTo>
                    <a:pt x="646" y="440"/>
                  </a:lnTo>
                  <a:close/>
                  <a:moveTo>
                    <a:pt x="486" y="337"/>
                  </a:moveTo>
                  <a:lnTo>
                    <a:pt x="481" y="333"/>
                  </a:lnTo>
                  <a:lnTo>
                    <a:pt x="481" y="324"/>
                  </a:lnTo>
                  <a:lnTo>
                    <a:pt x="483" y="311"/>
                  </a:lnTo>
                  <a:lnTo>
                    <a:pt x="481" y="307"/>
                  </a:lnTo>
                  <a:lnTo>
                    <a:pt x="483" y="299"/>
                  </a:lnTo>
                  <a:lnTo>
                    <a:pt x="471" y="304"/>
                  </a:lnTo>
                  <a:lnTo>
                    <a:pt x="471" y="275"/>
                  </a:lnTo>
                  <a:lnTo>
                    <a:pt x="474" y="266"/>
                  </a:lnTo>
                  <a:lnTo>
                    <a:pt x="447" y="266"/>
                  </a:lnTo>
                  <a:lnTo>
                    <a:pt x="378" y="268"/>
                  </a:lnTo>
                  <a:lnTo>
                    <a:pt x="378" y="263"/>
                  </a:lnTo>
                  <a:lnTo>
                    <a:pt x="312" y="261"/>
                  </a:lnTo>
                  <a:lnTo>
                    <a:pt x="304" y="261"/>
                  </a:lnTo>
                  <a:lnTo>
                    <a:pt x="221" y="260"/>
                  </a:lnTo>
                  <a:lnTo>
                    <a:pt x="206" y="260"/>
                  </a:lnTo>
                  <a:lnTo>
                    <a:pt x="204" y="261"/>
                  </a:lnTo>
                  <a:lnTo>
                    <a:pt x="199" y="261"/>
                  </a:lnTo>
                  <a:lnTo>
                    <a:pt x="199" y="260"/>
                  </a:lnTo>
                  <a:lnTo>
                    <a:pt x="166" y="258"/>
                  </a:lnTo>
                  <a:lnTo>
                    <a:pt x="163" y="269"/>
                  </a:lnTo>
                  <a:lnTo>
                    <a:pt x="151" y="269"/>
                  </a:lnTo>
                  <a:lnTo>
                    <a:pt x="151" y="260"/>
                  </a:lnTo>
                  <a:lnTo>
                    <a:pt x="110" y="258"/>
                  </a:lnTo>
                  <a:lnTo>
                    <a:pt x="102" y="258"/>
                  </a:lnTo>
                  <a:lnTo>
                    <a:pt x="3" y="253"/>
                  </a:lnTo>
                  <a:lnTo>
                    <a:pt x="0" y="247"/>
                  </a:lnTo>
                  <a:lnTo>
                    <a:pt x="33" y="117"/>
                  </a:lnTo>
                  <a:lnTo>
                    <a:pt x="55" y="43"/>
                  </a:lnTo>
                  <a:lnTo>
                    <a:pt x="108" y="45"/>
                  </a:lnTo>
                  <a:lnTo>
                    <a:pt x="129" y="45"/>
                  </a:lnTo>
                  <a:lnTo>
                    <a:pt x="232" y="50"/>
                  </a:lnTo>
                  <a:lnTo>
                    <a:pt x="273" y="51"/>
                  </a:lnTo>
                  <a:lnTo>
                    <a:pt x="350" y="56"/>
                  </a:lnTo>
                  <a:lnTo>
                    <a:pt x="356" y="56"/>
                  </a:lnTo>
                  <a:lnTo>
                    <a:pt x="494" y="59"/>
                  </a:lnTo>
                  <a:lnTo>
                    <a:pt x="502" y="50"/>
                  </a:lnTo>
                  <a:lnTo>
                    <a:pt x="503" y="43"/>
                  </a:lnTo>
                  <a:lnTo>
                    <a:pt x="514" y="45"/>
                  </a:lnTo>
                  <a:lnTo>
                    <a:pt x="516" y="25"/>
                  </a:lnTo>
                  <a:lnTo>
                    <a:pt x="530" y="21"/>
                  </a:lnTo>
                  <a:lnTo>
                    <a:pt x="543" y="26"/>
                  </a:lnTo>
                  <a:lnTo>
                    <a:pt x="550" y="12"/>
                  </a:lnTo>
                  <a:lnTo>
                    <a:pt x="576" y="3"/>
                  </a:lnTo>
                  <a:lnTo>
                    <a:pt x="579" y="0"/>
                  </a:lnTo>
                  <a:lnTo>
                    <a:pt x="591" y="7"/>
                  </a:lnTo>
                  <a:lnTo>
                    <a:pt x="597" y="7"/>
                  </a:lnTo>
                  <a:lnTo>
                    <a:pt x="615" y="69"/>
                  </a:lnTo>
                  <a:lnTo>
                    <a:pt x="648" y="75"/>
                  </a:lnTo>
                  <a:lnTo>
                    <a:pt x="638" y="94"/>
                  </a:lnTo>
                  <a:lnTo>
                    <a:pt x="597" y="105"/>
                  </a:lnTo>
                  <a:lnTo>
                    <a:pt x="582" y="134"/>
                  </a:lnTo>
                  <a:lnTo>
                    <a:pt x="566" y="139"/>
                  </a:lnTo>
                  <a:lnTo>
                    <a:pt x="549" y="185"/>
                  </a:lnTo>
                  <a:lnTo>
                    <a:pt x="574" y="199"/>
                  </a:lnTo>
                  <a:lnTo>
                    <a:pt x="582" y="189"/>
                  </a:lnTo>
                  <a:lnTo>
                    <a:pt x="596" y="191"/>
                  </a:lnTo>
                  <a:lnTo>
                    <a:pt x="607" y="194"/>
                  </a:lnTo>
                  <a:lnTo>
                    <a:pt x="627" y="224"/>
                  </a:lnTo>
                  <a:lnTo>
                    <a:pt x="641" y="279"/>
                  </a:lnTo>
                  <a:lnTo>
                    <a:pt x="659" y="290"/>
                  </a:lnTo>
                  <a:lnTo>
                    <a:pt x="660" y="327"/>
                  </a:lnTo>
                  <a:lnTo>
                    <a:pt x="685" y="344"/>
                  </a:lnTo>
                  <a:lnTo>
                    <a:pt x="720" y="352"/>
                  </a:lnTo>
                  <a:lnTo>
                    <a:pt x="704" y="354"/>
                  </a:lnTo>
                  <a:lnTo>
                    <a:pt x="734" y="354"/>
                  </a:lnTo>
                  <a:lnTo>
                    <a:pt x="776" y="333"/>
                  </a:lnTo>
                  <a:lnTo>
                    <a:pt x="779" y="313"/>
                  </a:lnTo>
                  <a:lnTo>
                    <a:pt x="757" y="269"/>
                  </a:lnTo>
                  <a:lnTo>
                    <a:pt x="723" y="250"/>
                  </a:lnTo>
                  <a:lnTo>
                    <a:pt x="750" y="247"/>
                  </a:lnTo>
                  <a:lnTo>
                    <a:pt x="768" y="261"/>
                  </a:lnTo>
                  <a:lnTo>
                    <a:pt x="787" y="297"/>
                  </a:lnTo>
                  <a:lnTo>
                    <a:pt x="798" y="340"/>
                  </a:lnTo>
                  <a:lnTo>
                    <a:pt x="789" y="368"/>
                  </a:lnTo>
                  <a:lnTo>
                    <a:pt x="692" y="385"/>
                  </a:lnTo>
                  <a:lnTo>
                    <a:pt x="684" y="398"/>
                  </a:lnTo>
                  <a:lnTo>
                    <a:pt x="638" y="406"/>
                  </a:lnTo>
                  <a:lnTo>
                    <a:pt x="632" y="402"/>
                  </a:lnTo>
                  <a:lnTo>
                    <a:pt x="641" y="349"/>
                  </a:lnTo>
                  <a:lnTo>
                    <a:pt x="593" y="380"/>
                  </a:lnTo>
                  <a:lnTo>
                    <a:pt x="582" y="379"/>
                  </a:lnTo>
                  <a:lnTo>
                    <a:pt x="557" y="413"/>
                  </a:lnTo>
                  <a:lnTo>
                    <a:pt x="532" y="421"/>
                  </a:lnTo>
                  <a:lnTo>
                    <a:pt x="527" y="371"/>
                  </a:lnTo>
                  <a:lnTo>
                    <a:pt x="513" y="366"/>
                  </a:lnTo>
                  <a:lnTo>
                    <a:pt x="505" y="357"/>
                  </a:lnTo>
                  <a:lnTo>
                    <a:pt x="497" y="343"/>
                  </a:lnTo>
                  <a:lnTo>
                    <a:pt x="486" y="337"/>
                  </a:lnTo>
                  <a:close/>
                </a:path>
              </a:pathLst>
            </a:custGeom>
            <a:solidFill>
              <a:srgbClr val="ECE8E4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2" name="Freeform 1611">
              <a:extLst>
                <a:ext uri="{FF2B5EF4-FFF2-40B4-BE49-F238E27FC236}">
                  <a16:creationId xmlns:a16="http://schemas.microsoft.com/office/drawing/2014/main" id="{13E8150E-F5FF-4B48-B872-9B232CA1C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" y="1077"/>
              <a:ext cx="373" cy="699"/>
            </a:xfrm>
            <a:custGeom>
              <a:avLst/>
              <a:gdLst>
                <a:gd name="T0" fmla="*/ 20 w 373"/>
                <a:gd name="T1" fmla="*/ 480 h 699"/>
                <a:gd name="T2" fmla="*/ 25 w 373"/>
                <a:gd name="T3" fmla="*/ 466 h 699"/>
                <a:gd name="T4" fmla="*/ 36 w 373"/>
                <a:gd name="T5" fmla="*/ 459 h 699"/>
                <a:gd name="T6" fmla="*/ 52 w 373"/>
                <a:gd name="T7" fmla="*/ 442 h 699"/>
                <a:gd name="T8" fmla="*/ 72 w 373"/>
                <a:gd name="T9" fmla="*/ 442 h 699"/>
                <a:gd name="T10" fmla="*/ 97 w 373"/>
                <a:gd name="T11" fmla="*/ 433 h 699"/>
                <a:gd name="T12" fmla="*/ 94 w 373"/>
                <a:gd name="T13" fmla="*/ 417 h 699"/>
                <a:gd name="T14" fmla="*/ 102 w 373"/>
                <a:gd name="T15" fmla="*/ 404 h 699"/>
                <a:gd name="T16" fmla="*/ 111 w 373"/>
                <a:gd name="T17" fmla="*/ 401 h 699"/>
                <a:gd name="T18" fmla="*/ 130 w 373"/>
                <a:gd name="T19" fmla="*/ 389 h 699"/>
                <a:gd name="T20" fmla="*/ 157 w 373"/>
                <a:gd name="T21" fmla="*/ 375 h 699"/>
                <a:gd name="T22" fmla="*/ 183 w 373"/>
                <a:gd name="T23" fmla="*/ 362 h 699"/>
                <a:gd name="T24" fmla="*/ 185 w 373"/>
                <a:gd name="T25" fmla="*/ 346 h 699"/>
                <a:gd name="T26" fmla="*/ 153 w 373"/>
                <a:gd name="T27" fmla="*/ 310 h 699"/>
                <a:gd name="T28" fmla="*/ 142 w 373"/>
                <a:gd name="T29" fmla="*/ 299 h 699"/>
                <a:gd name="T30" fmla="*/ 135 w 373"/>
                <a:gd name="T31" fmla="*/ 281 h 699"/>
                <a:gd name="T32" fmla="*/ 122 w 373"/>
                <a:gd name="T33" fmla="*/ 281 h 699"/>
                <a:gd name="T34" fmla="*/ 111 w 373"/>
                <a:gd name="T35" fmla="*/ 265 h 699"/>
                <a:gd name="T36" fmla="*/ 110 w 373"/>
                <a:gd name="T37" fmla="*/ 238 h 699"/>
                <a:gd name="T38" fmla="*/ 88 w 373"/>
                <a:gd name="T39" fmla="*/ 235 h 699"/>
                <a:gd name="T40" fmla="*/ 84 w 373"/>
                <a:gd name="T41" fmla="*/ 227 h 699"/>
                <a:gd name="T42" fmla="*/ 83 w 373"/>
                <a:gd name="T43" fmla="*/ 213 h 699"/>
                <a:gd name="T44" fmla="*/ 88 w 373"/>
                <a:gd name="T45" fmla="*/ 201 h 699"/>
                <a:gd name="T46" fmla="*/ 84 w 373"/>
                <a:gd name="T47" fmla="*/ 186 h 699"/>
                <a:gd name="T48" fmla="*/ 89 w 373"/>
                <a:gd name="T49" fmla="*/ 171 h 699"/>
                <a:gd name="T50" fmla="*/ 106 w 373"/>
                <a:gd name="T51" fmla="*/ 165 h 699"/>
                <a:gd name="T52" fmla="*/ 106 w 373"/>
                <a:gd name="T53" fmla="*/ 152 h 699"/>
                <a:gd name="T54" fmla="*/ 116 w 373"/>
                <a:gd name="T55" fmla="*/ 143 h 699"/>
                <a:gd name="T56" fmla="*/ 110 w 373"/>
                <a:gd name="T57" fmla="*/ 133 h 699"/>
                <a:gd name="T58" fmla="*/ 97 w 373"/>
                <a:gd name="T59" fmla="*/ 111 h 699"/>
                <a:gd name="T60" fmla="*/ 111 w 373"/>
                <a:gd name="T61" fmla="*/ 100 h 699"/>
                <a:gd name="T62" fmla="*/ 127 w 373"/>
                <a:gd name="T63" fmla="*/ 86 h 699"/>
                <a:gd name="T64" fmla="*/ 130 w 373"/>
                <a:gd name="T65" fmla="*/ 80 h 699"/>
                <a:gd name="T66" fmla="*/ 138 w 373"/>
                <a:gd name="T67" fmla="*/ 72 h 699"/>
                <a:gd name="T68" fmla="*/ 158 w 373"/>
                <a:gd name="T69" fmla="*/ 44 h 699"/>
                <a:gd name="T70" fmla="*/ 166 w 373"/>
                <a:gd name="T71" fmla="*/ 22 h 699"/>
                <a:gd name="T72" fmla="*/ 174 w 373"/>
                <a:gd name="T73" fmla="*/ 11 h 699"/>
                <a:gd name="T74" fmla="*/ 266 w 373"/>
                <a:gd name="T75" fmla="*/ 45 h 699"/>
                <a:gd name="T76" fmla="*/ 302 w 373"/>
                <a:gd name="T77" fmla="*/ 69 h 699"/>
                <a:gd name="T78" fmla="*/ 373 w 373"/>
                <a:gd name="T79" fmla="*/ 116 h 699"/>
                <a:gd name="T80" fmla="*/ 367 w 373"/>
                <a:gd name="T81" fmla="*/ 138 h 699"/>
                <a:gd name="T82" fmla="*/ 348 w 373"/>
                <a:gd name="T83" fmla="*/ 182 h 699"/>
                <a:gd name="T84" fmla="*/ 321 w 373"/>
                <a:gd name="T85" fmla="*/ 208 h 699"/>
                <a:gd name="T86" fmla="*/ 318 w 373"/>
                <a:gd name="T87" fmla="*/ 201 h 699"/>
                <a:gd name="T88" fmla="*/ 288 w 373"/>
                <a:gd name="T89" fmla="*/ 248 h 699"/>
                <a:gd name="T90" fmla="*/ 301 w 373"/>
                <a:gd name="T91" fmla="*/ 268 h 699"/>
                <a:gd name="T92" fmla="*/ 356 w 373"/>
                <a:gd name="T93" fmla="*/ 304 h 699"/>
                <a:gd name="T94" fmla="*/ 329 w 373"/>
                <a:gd name="T95" fmla="*/ 364 h 699"/>
                <a:gd name="T96" fmla="*/ 343 w 373"/>
                <a:gd name="T97" fmla="*/ 371 h 699"/>
                <a:gd name="T98" fmla="*/ 324 w 373"/>
                <a:gd name="T99" fmla="*/ 382 h 699"/>
                <a:gd name="T100" fmla="*/ 313 w 373"/>
                <a:gd name="T101" fmla="*/ 434 h 699"/>
                <a:gd name="T102" fmla="*/ 298 w 373"/>
                <a:gd name="T103" fmla="*/ 506 h 699"/>
                <a:gd name="T104" fmla="*/ 276 w 373"/>
                <a:gd name="T105" fmla="*/ 536 h 699"/>
                <a:gd name="T106" fmla="*/ 262 w 373"/>
                <a:gd name="T107" fmla="*/ 542 h 699"/>
                <a:gd name="T108" fmla="*/ 249 w 373"/>
                <a:gd name="T109" fmla="*/ 578 h 699"/>
                <a:gd name="T110" fmla="*/ 211 w 373"/>
                <a:gd name="T111" fmla="*/ 607 h 699"/>
                <a:gd name="T112" fmla="*/ 172 w 373"/>
                <a:gd name="T113" fmla="*/ 679 h 699"/>
                <a:gd name="T114" fmla="*/ 155 w 373"/>
                <a:gd name="T115" fmla="*/ 699 h 699"/>
                <a:gd name="T116" fmla="*/ 152 w 373"/>
                <a:gd name="T117" fmla="*/ 654 h 699"/>
                <a:gd name="T118" fmla="*/ 125 w 373"/>
                <a:gd name="T119" fmla="*/ 629 h 699"/>
                <a:gd name="T120" fmla="*/ 36 w 373"/>
                <a:gd name="T121" fmla="*/ 578 h 699"/>
                <a:gd name="T122" fmla="*/ 12 w 373"/>
                <a:gd name="T123" fmla="*/ 524 h 699"/>
                <a:gd name="T124" fmla="*/ 19 w 373"/>
                <a:gd name="T125" fmla="*/ 481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3" h="699">
                  <a:moveTo>
                    <a:pt x="19" y="481"/>
                  </a:moveTo>
                  <a:lnTo>
                    <a:pt x="20" y="480"/>
                  </a:lnTo>
                  <a:lnTo>
                    <a:pt x="22" y="472"/>
                  </a:lnTo>
                  <a:lnTo>
                    <a:pt x="25" y="466"/>
                  </a:lnTo>
                  <a:lnTo>
                    <a:pt x="31" y="462"/>
                  </a:lnTo>
                  <a:lnTo>
                    <a:pt x="36" y="459"/>
                  </a:lnTo>
                  <a:lnTo>
                    <a:pt x="34" y="456"/>
                  </a:lnTo>
                  <a:lnTo>
                    <a:pt x="52" y="442"/>
                  </a:lnTo>
                  <a:lnTo>
                    <a:pt x="72" y="444"/>
                  </a:lnTo>
                  <a:lnTo>
                    <a:pt x="72" y="442"/>
                  </a:lnTo>
                  <a:lnTo>
                    <a:pt x="88" y="434"/>
                  </a:lnTo>
                  <a:lnTo>
                    <a:pt x="97" y="433"/>
                  </a:lnTo>
                  <a:lnTo>
                    <a:pt x="97" y="428"/>
                  </a:lnTo>
                  <a:lnTo>
                    <a:pt x="94" y="417"/>
                  </a:lnTo>
                  <a:lnTo>
                    <a:pt x="97" y="411"/>
                  </a:lnTo>
                  <a:lnTo>
                    <a:pt x="102" y="404"/>
                  </a:lnTo>
                  <a:lnTo>
                    <a:pt x="108" y="406"/>
                  </a:lnTo>
                  <a:lnTo>
                    <a:pt x="111" y="401"/>
                  </a:lnTo>
                  <a:lnTo>
                    <a:pt x="117" y="397"/>
                  </a:lnTo>
                  <a:lnTo>
                    <a:pt x="130" y="389"/>
                  </a:lnTo>
                  <a:lnTo>
                    <a:pt x="138" y="381"/>
                  </a:lnTo>
                  <a:lnTo>
                    <a:pt x="157" y="375"/>
                  </a:lnTo>
                  <a:lnTo>
                    <a:pt x="166" y="364"/>
                  </a:lnTo>
                  <a:lnTo>
                    <a:pt x="183" y="362"/>
                  </a:lnTo>
                  <a:lnTo>
                    <a:pt x="189" y="354"/>
                  </a:lnTo>
                  <a:lnTo>
                    <a:pt x="185" y="346"/>
                  </a:lnTo>
                  <a:lnTo>
                    <a:pt x="163" y="326"/>
                  </a:lnTo>
                  <a:lnTo>
                    <a:pt x="153" y="310"/>
                  </a:lnTo>
                  <a:lnTo>
                    <a:pt x="146" y="306"/>
                  </a:lnTo>
                  <a:lnTo>
                    <a:pt x="142" y="299"/>
                  </a:lnTo>
                  <a:lnTo>
                    <a:pt x="138" y="298"/>
                  </a:lnTo>
                  <a:lnTo>
                    <a:pt x="135" y="281"/>
                  </a:lnTo>
                  <a:lnTo>
                    <a:pt x="127" y="279"/>
                  </a:lnTo>
                  <a:lnTo>
                    <a:pt x="122" y="281"/>
                  </a:lnTo>
                  <a:lnTo>
                    <a:pt x="116" y="274"/>
                  </a:lnTo>
                  <a:lnTo>
                    <a:pt x="111" y="265"/>
                  </a:lnTo>
                  <a:lnTo>
                    <a:pt x="113" y="244"/>
                  </a:lnTo>
                  <a:lnTo>
                    <a:pt x="110" y="238"/>
                  </a:lnTo>
                  <a:lnTo>
                    <a:pt x="100" y="234"/>
                  </a:lnTo>
                  <a:lnTo>
                    <a:pt x="88" y="235"/>
                  </a:lnTo>
                  <a:lnTo>
                    <a:pt x="83" y="232"/>
                  </a:lnTo>
                  <a:lnTo>
                    <a:pt x="84" y="227"/>
                  </a:lnTo>
                  <a:lnTo>
                    <a:pt x="83" y="218"/>
                  </a:lnTo>
                  <a:lnTo>
                    <a:pt x="83" y="213"/>
                  </a:lnTo>
                  <a:lnTo>
                    <a:pt x="81" y="207"/>
                  </a:lnTo>
                  <a:lnTo>
                    <a:pt x="88" y="201"/>
                  </a:lnTo>
                  <a:lnTo>
                    <a:pt x="81" y="197"/>
                  </a:lnTo>
                  <a:lnTo>
                    <a:pt x="84" y="186"/>
                  </a:lnTo>
                  <a:lnTo>
                    <a:pt x="84" y="179"/>
                  </a:lnTo>
                  <a:lnTo>
                    <a:pt x="89" y="171"/>
                  </a:lnTo>
                  <a:lnTo>
                    <a:pt x="99" y="171"/>
                  </a:lnTo>
                  <a:lnTo>
                    <a:pt x="106" y="165"/>
                  </a:lnTo>
                  <a:lnTo>
                    <a:pt x="108" y="157"/>
                  </a:lnTo>
                  <a:lnTo>
                    <a:pt x="106" y="152"/>
                  </a:lnTo>
                  <a:lnTo>
                    <a:pt x="116" y="147"/>
                  </a:lnTo>
                  <a:lnTo>
                    <a:pt x="116" y="143"/>
                  </a:lnTo>
                  <a:lnTo>
                    <a:pt x="111" y="138"/>
                  </a:lnTo>
                  <a:lnTo>
                    <a:pt x="110" y="133"/>
                  </a:lnTo>
                  <a:lnTo>
                    <a:pt x="97" y="116"/>
                  </a:lnTo>
                  <a:lnTo>
                    <a:pt x="97" y="111"/>
                  </a:lnTo>
                  <a:lnTo>
                    <a:pt x="102" y="105"/>
                  </a:lnTo>
                  <a:lnTo>
                    <a:pt x="111" y="100"/>
                  </a:lnTo>
                  <a:lnTo>
                    <a:pt x="119" y="97"/>
                  </a:lnTo>
                  <a:lnTo>
                    <a:pt x="127" y="86"/>
                  </a:lnTo>
                  <a:lnTo>
                    <a:pt x="135" y="80"/>
                  </a:lnTo>
                  <a:lnTo>
                    <a:pt x="130" y="80"/>
                  </a:lnTo>
                  <a:lnTo>
                    <a:pt x="130" y="77"/>
                  </a:lnTo>
                  <a:lnTo>
                    <a:pt x="138" y="72"/>
                  </a:lnTo>
                  <a:lnTo>
                    <a:pt x="146" y="63"/>
                  </a:lnTo>
                  <a:lnTo>
                    <a:pt x="158" y="44"/>
                  </a:lnTo>
                  <a:lnTo>
                    <a:pt x="157" y="38"/>
                  </a:lnTo>
                  <a:lnTo>
                    <a:pt x="166" y="22"/>
                  </a:lnTo>
                  <a:lnTo>
                    <a:pt x="174" y="17"/>
                  </a:lnTo>
                  <a:lnTo>
                    <a:pt x="174" y="11"/>
                  </a:lnTo>
                  <a:lnTo>
                    <a:pt x="194" y="0"/>
                  </a:lnTo>
                  <a:lnTo>
                    <a:pt x="266" y="45"/>
                  </a:lnTo>
                  <a:lnTo>
                    <a:pt x="298" y="64"/>
                  </a:lnTo>
                  <a:lnTo>
                    <a:pt x="302" y="69"/>
                  </a:lnTo>
                  <a:lnTo>
                    <a:pt x="373" y="105"/>
                  </a:lnTo>
                  <a:lnTo>
                    <a:pt x="373" y="116"/>
                  </a:lnTo>
                  <a:lnTo>
                    <a:pt x="371" y="125"/>
                  </a:lnTo>
                  <a:lnTo>
                    <a:pt x="367" y="138"/>
                  </a:lnTo>
                  <a:lnTo>
                    <a:pt x="356" y="165"/>
                  </a:lnTo>
                  <a:lnTo>
                    <a:pt x="348" y="182"/>
                  </a:lnTo>
                  <a:lnTo>
                    <a:pt x="348" y="191"/>
                  </a:lnTo>
                  <a:lnTo>
                    <a:pt x="321" y="208"/>
                  </a:lnTo>
                  <a:lnTo>
                    <a:pt x="326" y="191"/>
                  </a:lnTo>
                  <a:lnTo>
                    <a:pt x="318" y="201"/>
                  </a:lnTo>
                  <a:lnTo>
                    <a:pt x="304" y="226"/>
                  </a:lnTo>
                  <a:lnTo>
                    <a:pt x="288" y="248"/>
                  </a:lnTo>
                  <a:lnTo>
                    <a:pt x="291" y="262"/>
                  </a:lnTo>
                  <a:lnTo>
                    <a:pt x="301" y="268"/>
                  </a:lnTo>
                  <a:lnTo>
                    <a:pt x="324" y="265"/>
                  </a:lnTo>
                  <a:lnTo>
                    <a:pt x="356" y="304"/>
                  </a:lnTo>
                  <a:lnTo>
                    <a:pt x="343" y="368"/>
                  </a:lnTo>
                  <a:lnTo>
                    <a:pt x="329" y="364"/>
                  </a:lnTo>
                  <a:lnTo>
                    <a:pt x="331" y="371"/>
                  </a:lnTo>
                  <a:lnTo>
                    <a:pt x="343" y="371"/>
                  </a:lnTo>
                  <a:lnTo>
                    <a:pt x="338" y="381"/>
                  </a:lnTo>
                  <a:lnTo>
                    <a:pt x="324" y="382"/>
                  </a:lnTo>
                  <a:lnTo>
                    <a:pt x="334" y="384"/>
                  </a:lnTo>
                  <a:lnTo>
                    <a:pt x="313" y="434"/>
                  </a:lnTo>
                  <a:lnTo>
                    <a:pt x="312" y="480"/>
                  </a:lnTo>
                  <a:lnTo>
                    <a:pt x="298" y="506"/>
                  </a:lnTo>
                  <a:lnTo>
                    <a:pt x="279" y="520"/>
                  </a:lnTo>
                  <a:lnTo>
                    <a:pt x="276" y="536"/>
                  </a:lnTo>
                  <a:lnTo>
                    <a:pt x="258" y="530"/>
                  </a:lnTo>
                  <a:lnTo>
                    <a:pt x="262" y="542"/>
                  </a:lnTo>
                  <a:lnTo>
                    <a:pt x="247" y="564"/>
                  </a:lnTo>
                  <a:lnTo>
                    <a:pt x="249" y="578"/>
                  </a:lnTo>
                  <a:lnTo>
                    <a:pt x="204" y="605"/>
                  </a:lnTo>
                  <a:lnTo>
                    <a:pt x="211" y="607"/>
                  </a:lnTo>
                  <a:lnTo>
                    <a:pt x="211" y="614"/>
                  </a:lnTo>
                  <a:lnTo>
                    <a:pt x="172" y="679"/>
                  </a:lnTo>
                  <a:lnTo>
                    <a:pt x="155" y="690"/>
                  </a:lnTo>
                  <a:lnTo>
                    <a:pt x="155" y="699"/>
                  </a:lnTo>
                  <a:lnTo>
                    <a:pt x="135" y="696"/>
                  </a:lnTo>
                  <a:lnTo>
                    <a:pt x="152" y="654"/>
                  </a:lnTo>
                  <a:lnTo>
                    <a:pt x="146" y="638"/>
                  </a:lnTo>
                  <a:lnTo>
                    <a:pt x="125" y="629"/>
                  </a:lnTo>
                  <a:lnTo>
                    <a:pt x="100" y="633"/>
                  </a:lnTo>
                  <a:lnTo>
                    <a:pt x="36" y="578"/>
                  </a:lnTo>
                  <a:lnTo>
                    <a:pt x="3" y="545"/>
                  </a:lnTo>
                  <a:lnTo>
                    <a:pt x="12" y="524"/>
                  </a:lnTo>
                  <a:lnTo>
                    <a:pt x="0" y="508"/>
                  </a:lnTo>
                  <a:lnTo>
                    <a:pt x="19" y="481"/>
                  </a:lnTo>
                  <a:close/>
                </a:path>
              </a:pathLst>
            </a:custGeom>
            <a:solidFill>
              <a:srgbClr val="ECE8E4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3" name="Freeform 1612">
              <a:extLst>
                <a:ext uri="{FF2B5EF4-FFF2-40B4-BE49-F238E27FC236}">
                  <a16:creationId xmlns:a16="http://schemas.microsoft.com/office/drawing/2014/main" id="{739BD2B9-0AC8-4BA8-97DF-F30D6FCE14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" y="803"/>
              <a:ext cx="1298" cy="754"/>
            </a:xfrm>
            <a:custGeom>
              <a:avLst/>
              <a:gdLst>
                <a:gd name="T0" fmla="*/ 488 w 1298"/>
                <a:gd name="T1" fmla="*/ 752 h 754"/>
                <a:gd name="T2" fmla="*/ 356 w 1298"/>
                <a:gd name="T3" fmla="*/ 752 h 754"/>
                <a:gd name="T4" fmla="*/ 168 w 1298"/>
                <a:gd name="T5" fmla="*/ 754 h 754"/>
                <a:gd name="T6" fmla="*/ 0 w 1298"/>
                <a:gd name="T7" fmla="*/ 754 h 754"/>
                <a:gd name="T8" fmla="*/ 0 w 1298"/>
                <a:gd name="T9" fmla="*/ 625 h 754"/>
                <a:gd name="T10" fmla="*/ 0 w 1298"/>
                <a:gd name="T11" fmla="*/ 484 h 754"/>
                <a:gd name="T12" fmla="*/ 0 w 1298"/>
                <a:gd name="T13" fmla="*/ 341 h 754"/>
                <a:gd name="T14" fmla="*/ 0 w 1298"/>
                <a:gd name="T15" fmla="*/ 125 h 754"/>
                <a:gd name="T16" fmla="*/ 170 w 1298"/>
                <a:gd name="T17" fmla="*/ 80 h 754"/>
                <a:gd name="T18" fmla="*/ 358 w 1298"/>
                <a:gd name="T19" fmla="*/ 81 h 754"/>
                <a:gd name="T20" fmla="*/ 619 w 1298"/>
                <a:gd name="T21" fmla="*/ 81 h 754"/>
                <a:gd name="T22" fmla="*/ 801 w 1298"/>
                <a:gd name="T23" fmla="*/ 80 h 754"/>
                <a:gd name="T24" fmla="*/ 985 w 1298"/>
                <a:gd name="T25" fmla="*/ 81 h 754"/>
                <a:gd name="T26" fmla="*/ 1156 w 1298"/>
                <a:gd name="T27" fmla="*/ 83 h 754"/>
                <a:gd name="T28" fmla="*/ 1174 w 1298"/>
                <a:gd name="T29" fmla="*/ 120 h 754"/>
                <a:gd name="T30" fmla="*/ 1204 w 1298"/>
                <a:gd name="T31" fmla="*/ 127 h 754"/>
                <a:gd name="T32" fmla="*/ 1210 w 1298"/>
                <a:gd name="T33" fmla="*/ 142 h 754"/>
                <a:gd name="T34" fmla="*/ 1220 w 1298"/>
                <a:gd name="T35" fmla="*/ 163 h 754"/>
                <a:gd name="T36" fmla="*/ 1215 w 1298"/>
                <a:gd name="T37" fmla="*/ 197 h 754"/>
                <a:gd name="T38" fmla="*/ 1229 w 1298"/>
                <a:gd name="T39" fmla="*/ 219 h 754"/>
                <a:gd name="T40" fmla="*/ 1253 w 1298"/>
                <a:gd name="T41" fmla="*/ 243 h 754"/>
                <a:gd name="T42" fmla="*/ 1278 w 1298"/>
                <a:gd name="T43" fmla="*/ 252 h 754"/>
                <a:gd name="T44" fmla="*/ 1289 w 1298"/>
                <a:gd name="T45" fmla="*/ 260 h 754"/>
                <a:gd name="T46" fmla="*/ 1278 w 1298"/>
                <a:gd name="T47" fmla="*/ 285 h 754"/>
                <a:gd name="T48" fmla="*/ 1261 w 1298"/>
                <a:gd name="T49" fmla="*/ 312 h 754"/>
                <a:gd name="T50" fmla="*/ 1242 w 1298"/>
                <a:gd name="T51" fmla="*/ 346 h 754"/>
                <a:gd name="T52" fmla="*/ 1239 w 1298"/>
                <a:gd name="T53" fmla="*/ 354 h 754"/>
                <a:gd name="T54" fmla="*/ 1215 w 1298"/>
                <a:gd name="T55" fmla="*/ 374 h 754"/>
                <a:gd name="T56" fmla="*/ 1201 w 1298"/>
                <a:gd name="T57" fmla="*/ 390 h 754"/>
                <a:gd name="T58" fmla="*/ 1220 w 1298"/>
                <a:gd name="T59" fmla="*/ 417 h 754"/>
                <a:gd name="T60" fmla="*/ 1212 w 1298"/>
                <a:gd name="T61" fmla="*/ 431 h 754"/>
                <a:gd name="T62" fmla="*/ 1193 w 1298"/>
                <a:gd name="T63" fmla="*/ 445 h 754"/>
                <a:gd name="T64" fmla="*/ 1185 w 1298"/>
                <a:gd name="T65" fmla="*/ 471 h 754"/>
                <a:gd name="T66" fmla="*/ 1187 w 1298"/>
                <a:gd name="T67" fmla="*/ 487 h 754"/>
                <a:gd name="T68" fmla="*/ 1187 w 1298"/>
                <a:gd name="T69" fmla="*/ 506 h 754"/>
                <a:gd name="T70" fmla="*/ 1214 w 1298"/>
                <a:gd name="T71" fmla="*/ 512 h 754"/>
                <a:gd name="T72" fmla="*/ 1220 w 1298"/>
                <a:gd name="T73" fmla="*/ 548 h 754"/>
                <a:gd name="T74" fmla="*/ 1239 w 1298"/>
                <a:gd name="T75" fmla="*/ 555 h 754"/>
                <a:gd name="T76" fmla="*/ 1250 w 1298"/>
                <a:gd name="T77" fmla="*/ 580 h 754"/>
                <a:gd name="T78" fmla="*/ 1289 w 1298"/>
                <a:gd name="T79" fmla="*/ 620 h 754"/>
                <a:gd name="T80" fmla="*/ 1270 w 1298"/>
                <a:gd name="T81" fmla="*/ 638 h 754"/>
                <a:gd name="T82" fmla="*/ 1234 w 1298"/>
                <a:gd name="T83" fmla="*/ 663 h 754"/>
                <a:gd name="T84" fmla="*/ 1212 w 1298"/>
                <a:gd name="T85" fmla="*/ 680 h 754"/>
                <a:gd name="T86" fmla="*/ 1198 w 1298"/>
                <a:gd name="T87" fmla="*/ 691 h 754"/>
                <a:gd name="T88" fmla="*/ 1192 w 1298"/>
                <a:gd name="T89" fmla="*/ 708 h 754"/>
                <a:gd name="T90" fmla="*/ 1156 w 1298"/>
                <a:gd name="T91" fmla="*/ 716 h 754"/>
                <a:gd name="T92" fmla="*/ 1102 w 1298"/>
                <a:gd name="T93" fmla="*/ 718 h 754"/>
                <a:gd name="T94" fmla="*/ 1066 w 1298"/>
                <a:gd name="T95" fmla="*/ 736 h 754"/>
                <a:gd name="T96" fmla="*/ 977 w 1298"/>
                <a:gd name="T97" fmla="*/ 752 h 754"/>
                <a:gd name="T98" fmla="*/ 833 w 1298"/>
                <a:gd name="T99" fmla="*/ 754 h 754"/>
                <a:gd name="T100" fmla="*/ 682 w 1298"/>
                <a:gd name="T101" fmla="*/ 754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98" h="754">
                  <a:moveTo>
                    <a:pt x="679" y="754"/>
                  </a:moveTo>
                  <a:lnTo>
                    <a:pt x="541" y="752"/>
                  </a:lnTo>
                  <a:lnTo>
                    <a:pt x="488" y="752"/>
                  </a:lnTo>
                  <a:lnTo>
                    <a:pt x="477" y="752"/>
                  </a:lnTo>
                  <a:lnTo>
                    <a:pt x="381" y="752"/>
                  </a:lnTo>
                  <a:lnTo>
                    <a:pt x="356" y="752"/>
                  </a:lnTo>
                  <a:lnTo>
                    <a:pt x="251" y="754"/>
                  </a:lnTo>
                  <a:lnTo>
                    <a:pt x="232" y="754"/>
                  </a:lnTo>
                  <a:lnTo>
                    <a:pt x="168" y="754"/>
                  </a:lnTo>
                  <a:lnTo>
                    <a:pt x="133" y="754"/>
                  </a:lnTo>
                  <a:lnTo>
                    <a:pt x="21" y="754"/>
                  </a:lnTo>
                  <a:lnTo>
                    <a:pt x="0" y="754"/>
                  </a:lnTo>
                  <a:lnTo>
                    <a:pt x="0" y="683"/>
                  </a:lnTo>
                  <a:lnTo>
                    <a:pt x="0" y="664"/>
                  </a:lnTo>
                  <a:lnTo>
                    <a:pt x="0" y="625"/>
                  </a:lnTo>
                  <a:lnTo>
                    <a:pt x="0" y="555"/>
                  </a:lnTo>
                  <a:lnTo>
                    <a:pt x="0" y="533"/>
                  </a:lnTo>
                  <a:lnTo>
                    <a:pt x="0" y="484"/>
                  </a:lnTo>
                  <a:lnTo>
                    <a:pt x="2" y="421"/>
                  </a:lnTo>
                  <a:lnTo>
                    <a:pt x="0" y="409"/>
                  </a:lnTo>
                  <a:lnTo>
                    <a:pt x="0" y="341"/>
                  </a:lnTo>
                  <a:lnTo>
                    <a:pt x="2" y="233"/>
                  </a:lnTo>
                  <a:lnTo>
                    <a:pt x="0" y="233"/>
                  </a:lnTo>
                  <a:lnTo>
                    <a:pt x="0" y="125"/>
                  </a:lnTo>
                  <a:lnTo>
                    <a:pt x="2" y="84"/>
                  </a:lnTo>
                  <a:lnTo>
                    <a:pt x="170" y="0"/>
                  </a:lnTo>
                  <a:lnTo>
                    <a:pt x="170" y="80"/>
                  </a:lnTo>
                  <a:lnTo>
                    <a:pt x="202" y="81"/>
                  </a:lnTo>
                  <a:lnTo>
                    <a:pt x="328" y="81"/>
                  </a:lnTo>
                  <a:lnTo>
                    <a:pt x="358" y="81"/>
                  </a:lnTo>
                  <a:lnTo>
                    <a:pt x="494" y="81"/>
                  </a:lnTo>
                  <a:lnTo>
                    <a:pt x="516" y="81"/>
                  </a:lnTo>
                  <a:lnTo>
                    <a:pt x="619" y="81"/>
                  </a:lnTo>
                  <a:lnTo>
                    <a:pt x="649" y="81"/>
                  </a:lnTo>
                  <a:lnTo>
                    <a:pt x="793" y="80"/>
                  </a:lnTo>
                  <a:lnTo>
                    <a:pt x="801" y="80"/>
                  </a:lnTo>
                  <a:lnTo>
                    <a:pt x="883" y="80"/>
                  </a:lnTo>
                  <a:lnTo>
                    <a:pt x="977" y="81"/>
                  </a:lnTo>
                  <a:lnTo>
                    <a:pt x="985" y="81"/>
                  </a:lnTo>
                  <a:lnTo>
                    <a:pt x="1124" y="81"/>
                  </a:lnTo>
                  <a:lnTo>
                    <a:pt x="1146" y="81"/>
                  </a:lnTo>
                  <a:lnTo>
                    <a:pt x="1156" y="83"/>
                  </a:lnTo>
                  <a:lnTo>
                    <a:pt x="1159" y="92"/>
                  </a:lnTo>
                  <a:lnTo>
                    <a:pt x="1168" y="97"/>
                  </a:lnTo>
                  <a:lnTo>
                    <a:pt x="1174" y="120"/>
                  </a:lnTo>
                  <a:lnTo>
                    <a:pt x="1193" y="120"/>
                  </a:lnTo>
                  <a:lnTo>
                    <a:pt x="1198" y="125"/>
                  </a:lnTo>
                  <a:lnTo>
                    <a:pt x="1204" y="127"/>
                  </a:lnTo>
                  <a:lnTo>
                    <a:pt x="1206" y="130"/>
                  </a:lnTo>
                  <a:lnTo>
                    <a:pt x="1214" y="136"/>
                  </a:lnTo>
                  <a:lnTo>
                    <a:pt x="1210" y="142"/>
                  </a:lnTo>
                  <a:lnTo>
                    <a:pt x="1210" y="147"/>
                  </a:lnTo>
                  <a:lnTo>
                    <a:pt x="1217" y="149"/>
                  </a:lnTo>
                  <a:lnTo>
                    <a:pt x="1220" y="163"/>
                  </a:lnTo>
                  <a:lnTo>
                    <a:pt x="1217" y="166"/>
                  </a:lnTo>
                  <a:lnTo>
                    <a:pt x="1220" y="189"/>
                  </a:lnTo>
                  <a:lnTo>
                    <a:pt x="1215" y="197"/>
                  </a:lnTo>
                  <a:lnTo>
                    <a:pt x="1215" y="199"/>
                  </a:lnTo>
                  <a:lnTo>
                    <a:pt x="1225" y="210"/>
                  </a:lnTo>
                  <a:lnTo>
                    <a:pt x="1229" y="219"/>
                  </a:lnTo>
                  <a:lnTo>
                    <a:pt x="1239" y="235"/>
                  </a:lnTo>
                  <a:lnTo>
                    <a:pt x="1246" y="235"/>
                  </a:lnTo>
                  <a:lnTo>
                    <a:pt x="1253" y="243"/>
                  </a:lnTo>
                  <a:lnTo>
                    <a:pt x="1256" y="246"/>
                  </a:lnTo>
                  <a:lnTo>
                    <a:pt x="1261" y="246"/>
                  </a:lnTo>
                  <a:lnTo>
                    <a:pt x="1278" y="252"/>
                  </a:lnTo>
                  <a:lnTo>
                    <a:pt x="1286" y="252"/>
                  </a:lnTo>
                  <a:lnTo>
                    <a:pt x="1289" y="254"/>
                  </a:lnTo>
                  <a:lnTo>
                    <a:pt x="1289" y="260"/>
                  </a:lnTo>
                  <a:lnTo>
                    <a:pt x="1297" y="266"/>
                  </a:lnTo>
                  <a:lnTo>
                    <a:pt x="1298" y="274"/>
                  </a:lnTo>
                  <a:lnTo>
                    <a:pt x="1278" y="285"/>
                  </a:lnTo>
                  <a:lnTo>
                    <a:pt x="1278" y="291"/>
                  </a:lnTo>
                  <a:lnTo>
                    <a:pt x="1270" y="296"/>
                  </a:lnTo>
                  <a:lnTo>
                    <a:pt x="1261" y="312"/>
                  </a:lnTo>
                  <a:lnTo>
                    <a:pt x="1262" y="318"/>
                  </a:lnTo>
                  <a:lnTo>
                    <a:pt x="1250" y="337"/>
                  </a:lnTo>
                  <a:lnTo>
                    <a:pt x="1242" y="346"/>
                  </a:lnTo>
                  <a:lnTo>
                    <a:pt x="1234" y="351"/>
                  </a:lnTo>
                  <a:lnTo>
                    <a:pt x="1234" y="354"/>
                  </a:lnTo>
                  <a:lnTo>
                    <a:pt x="1239" y="354"/>
                  </a:lnTo>
                  <a:lnTo>
                    <a:pt x="1231" y="360"/>
                  </a:lnTo>
                  <a:lnTo>
                    <a:pt x="1223" y="371"/>
                  </a:lnTo>
                  <a:lnTo>
                    <a:pt x="1215" y="374"/>
                  </a:lnTo>
                  <a:lnTo>
                    <a:pt x="1206" y="379"/>
                  </a:lnTo>
                  <a:lnTo>
                    <a:pt x="1201" y="385"/>
                  </a:lnTo>
                  <a:lnTo>
                    <a:pt x="1201" y="390"/>
                  </a:lnTo>
                  <a:lnTo>
                    <a:pt x="1214" y="407"/>
                  </a:lnTo>
                  <a:lnTo>
                    <a:pt x="1215" y="412"/>
                  </a:lnTo>
                  <a:lnTo>
                    <a:pt x="1220" y="417"/>
                  </a:lnTo>
                  <a:lnTo>
                    <a:pt x="1220" y="421"/>
                  </a:lnTo>
                  <a:lnTo>
                    <a:pt x="1210" y="426"/>
                  </a:lnTo>
                  <a:lnTo>
                    <a:pt x="1212" y="431"/>
                  </a:lnTo>
                  <a:lnTo>
                    <a:pt x="1210" y="439"/>
                  </a:lnTo>
                  <a:lnTo>
                    <a:pt x="1203" y="445"/>
                  </a:lnTo>
                  <a:lnTo>
                    <a:pt x="1193" y="445"/>
                  </a:lnTo>
                  <a:lnTo>
                    <a:pt x="1188" y="453"/>
                  </a:lnTo>
                  <a:lnTo>
                    <a:pt x="1188" y="460"/>
                  </a:lnTo>
                  <a:lnTo>
                    <a:pt x="1185" y="471"/>
                  </a:lnTo>
                  <a:lnTo>
                    <a:pt x="1192" y="475"/>
                  </a:lnTo>
                  <a:lnTo>
                    <a:pt x="1185" y="481"/>
                  </a:lnTo>
                  <a:lnTo>
                    <a:pt x="1187" y="487"/>
                  </a:lnTo>
                  <a:lnTo>
                    <a:pt x="1187" y="492"/>
                  </a:lnTo>
                  <a:lnTo>
                    <a:pt x="1188" y="501"/>
                  </a:lnTo>
                  <a:lnTo>
                    <a:pt x="1187" y="506"/>
                  </a:lnTo>
                  <a:lnTo>
                    <a:pt x="1192" y="509"/>
                  </a:lnTo>
                  <a:lnTo>
                    <a:pt x="1204" y="508"/>
                  </a:lnTo>
                  <a:lnTo>
                    <a:pt x="1214" y="512"/>
                  </a:lnTo>
                  <a:lnTo>
                    <a:pt x="1217" y="518"/>
                  </a:lnTo>
                  <a:lnTo>
                    <a:pt x="1215" y="539"/>
                  </a:lnTo>
                  <a:lnTo>
                    <a:pt x="1220" y="548"/>
                  </a:lnTo>
                  <a:lnTo>
                    <a:pt x="1226" y="555"/>
                  </a:lnTo>
                  <a:lnTo>
                    <a:pt x="1231" y="553"/>
                  </a:lnTo>
                  <a:lnTo>
                    <a:pt x="1239" y="555"/>
                  </a:lnTo>
                  <a:lnTo>
                    <a:pt x="1242" y="572"/>
                  </a:lnTo>
                  <a:lnTo>
                    <a:pt x="1246" y="573"/>
                  </a:lnTo>
                  <a:lnTo>
                    <a:pt x="1250" y="580"/>
                  </a:lnTo>
                  <a:lnTo>
                    <a:pt x="1257" y="584"/>
                  </a:lnTo>
                  <a:lnTo>
                    <a:pt x="1267" y="600"/>
                  </a:lnTo>
                  <a:lnTo>
                    <a:pt x="1289" y="620"/>
                  </a:lnTo>
                  <a:lnTo>
                    <a:pt x="1293" y="628"/>
                  </a:lnTo>
                  <a:lnTo>
                    <a:pt x="1287" y="636"/>
                  </a:lnTo>
                  <a:lnTo>
                    <a:pt x="1270" y="638"/>
                  </a:lnTo>
                  <a:lnTo>
                    <a:pt x="1261" y="649"/>
                  </a:lnTo>
                  <a:lnTo>
                    <a:pt x="1242" y="655"/>
                  </a:lnTo>
                  <a:lnTo>
                    <a:pt x="1234" y="663"/>
                  </a:lnTo>
                  <a:lnTo>
                    <a:pt x="1221" y="671"/>
                  </a:lnTo>
                  <a:lnTo>
                    <a:pt x="1215" y="675"/>
                  </a:lnTo>
                  <a:lnTo>
                    <a:pt x="1212" y="680"/>
                  </a:lnTo>
                  <a:lnTo>
                    <a:pt x="1206" y="678"/>
                  </a:lnTo>
                  <a:lnTo>
                    <a:pt x="1201" y="685"/>
                  </a:lnTo>
                  <a:lnTo>
                    <a:pt x="1198" y="691"/>
                  </a:lnTo>
                  <a:lnTo>
                    <a:pt x="1201" y="702"/>
                  </a:lnTo>
                  <a:lnTo>
                    <a:pt x="1201" y="707"/>
                  </a:lnTo>
                  <a:lnTo>
                    <a:pt x="1192" y="708"/>
                  </a:lnTo>
                  <a:lnTo>
                    <a:pt x="1176" y="716"/>
                  </a:lnTo>
                  <a:lnTo>
                    <a:pt x="1176" y="718"/>
                  </a:lnTo>
                  <a:lnTo>
                    <a:pt x="1156" y="716"/>
                  </a:lnTo>
                  <a:lnTo>
                    <a:pt x="1138" y="730"/>
                  </a:lnTo>
                  <a:lnTo>
                    <a:pt x="1126" y="721"/>
                  </a:lnTo>
                  <a:lnTo>
                    <a:pt x="1102" y="718"/>
                  </a:lnTo>
                  <a:lnTo>
                    <a:pt x="1088" y="719"/>
                  </a:lnTo>
                  <a:lnTo>
                    <a:pt x="1077" y="724"/>
                  </a:lnTo>
                  <a:lnTo>
                    <a:pt x="1066" y="736"/>
                  </a:lnTo>
                  <a:lnTo>
                    <a:pt x="1058" y="752"/>
                  </a:lnTo>
                  <a:lnTo>
                    <a:pt x="1055" y="752"/>
                  </a:lnTo>
                  <a:lnTo>
                    <a:pt x="977" y="752"/>
                  </a:lnTo>
                  <a:lnTo>
                    <a:pt x="956" y="754"/>
                  </a:lnTo>
                  <a:lnTo>
                    <a:pt x="883" y="754"/>
                  </a:lnTo>
                  <a:lnTo>
                    <a:pt x="833" y="754"/>
                  </a:lnTo>
                  <a:lnTo>
                    <a:pt x="786" y="754"/>
                  </a:lnTo>
                  <a:lnTo>
                    <a:pt x="737" y="754"/>
                  </a:lnTo>
                  <a:lnTo>
                    <a:pt x="682" y="754"/>
                  </a:lnTo>
                  <a:lnTo>
                    <a:pt x="679" y="754"/>
                  </a:lnTo>
                  <a:close/>
                </a:path>
              </a:pathLst>
            </a:custGeom>
            <a:solidFill>
              <a:srgbClr val="ECE8E4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4" name="Freeform 1613">
              <a:extLst>
                <a:ext uri="{FF2B5EF4-FFF2-40B4-BE49-F238E27FC236}">
                  <a16:creationId xmlns:a16="http://schemas.microsoft.com/office/drawing/2014/main" id="{7AC7991E-FD81-4BF4-AC17-F5441FA8D3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1" y="-42"/>
              <a:ext cx="431" cy="707"/>
            </a:xfrm>
            <a:custGeom>
              <a:avLst/>
              <a:gdLst>
                <a:gd name="T0" fmla="*/ 32 w 431"/>
                <a:gd name="T1" fmla="*/ 683 h 707"/>
                <a:gd name="T2" fmla="*/ 41 w 431"/>
                <a:gd name="T3" fmla="*/ 528 h 707"/>
                <a:gd name="T4" fmla="*/ 33 w 431"/>
                <a:gd name="T5" fmla="*/ 446 h 707"/>
                <a:gd name="T6" fmla="*/ 29 w 431"/>
                <a:gd name="T7" fmla="*/ 432 h 707"/>
                <a:gd name="T8" fmla="*/ 5 w 431"/>
                <a:gd name="T9" fmla="*/ 445 h 707"/>
                <a:gd name="T10" fmla="*/ 18 w 431"/>
                <a:gd name="T11" fmla="*/ 392 h 707"/>
                <a:gd name="T12" fmla="*/ 14 w 431"/>
                <a:gd name="T13" fmla="*/ 352 h 707"/>
                <a:gd name="T14" fmla="*/ 7 w 431"/>
                <a:gd name="T15" fmla="*/ 310 h 707"/>
                <a:gd name="T16" fmla="*/ 7 w 431"/>
                <a:gd name="T17" fmla="*/ 282 h 707"/>
                <a:gd name="T18" fmla="*/ 13 w 431"/>
                <a:gd name="T19" fmla="*/ 254 h 707"/>
                <a:gd name="T20" fmla="*/ 32 w 431"/>
                <a:gd name="T21" fmla="*/ 189 h 707"/>
                <a:gd name="T22" fmla="*/ 19 w 431"/>
                <a:gd name="T23" fmla="*/ 144 h 707"/>
                <a:gd name="T24" fmla="*/ 14 w 431"/>
                <a:gd name="T25" fmla="*/ 119 h 707"/>
                <a:gd name="T26" fmla="*/ 14 w 431"/>
                <a:gd name="T27" fmla="*/ 91 h 707"/>
                <a:gd name="T28" fmla="*/ 13 w 431"/>
                <a:gd name="T29" fmla="*/ 51 h 707"/>
                <a:gd name="T30" fmla="*/ 19 w 431"/>
                <a:gd name="T31" fmla="*/ 3 h 707"/>
                <a:gd name="T32" fmla="*/ 342 w 431"/>
                <a:gd name="T33" fmla="*/ 3 h 707"/>
                <a:gd name="T34" fmla="*/ 427 w 431"/>
                <a:gd name="T35" fmla="*/ 22 h 707"/>
                <a:gd name="T36" fmla="*/ 414 w 431"/>
                <a:gd name="T37" fmla="*/ 73 h 707"/>
                <a:gd name="T38" fmla="*/ 411 w 431"/>
                <a:gd name="T39" fmla="*/ 114 h 707"/>
                <a:gd name="T40" fmla="*/ 424 w 431"/>
                <a:gd name="T41" fmla="*/ 136 h 707"/>
                <a:gd name="T42" fmla="*/ 416 w 431"/>
                <a:gd name="T43" fmla="*/ 152 h 707"/>
                <a:gd name="T44" fmla="*/ 400 w 431"/>
                <a:gd name="T45" fmla="*/ 169 h 707"/>
                <a:gd name="T46" fmla="*/ 392 w 431"/>
                <a:gd name="T47" fmla="*/ 186 h 707"/>
                <a:gd name="T48" fmla="*/ 361 w 431"/>
                <a:gd name="T49" fmla="*/ 207 h 707"/>
                <a:gd name="T50" fmla="*/ 334 w 431"/>
                <a:gd name="T51" fmla="*/ 215 h 707"/>
                <a:gd name="T52" fmla="*/ 308 w 431"/>
                <a:gd name="T53" fmla="*/ 235 h 707"/>
                <a:gd name="T54" fmla="*/ 309 w 431"/>
                <a:gd name="T55" fmla="*/ 268 h 707"/>
                <a:gd name="T56" fmla="*/ 314 w 431"/>
                <a:gd name="T57" fmla="*/ 287 h 707"/>
                <a:gd name="T58" fmla="*/ 301 w 431"/>
                <a:gd name="T59" fmla="*/ 313 h 707"/>
                <a:gd name="T60" fmla="*/ 300 w 431"/>
                <a:gd name="T61" fmla="*/ 329 h 707"/>
                <a:gd name="T62" fmla="*/ 283 w 431"/>
                <a:gd name="T63" fmla="*/ 354 h 707"/>
                <a:gd name="T64" fmla="*/ 272 w 431"/>
                <a:gd name="T65" fmla="*/ 395 h 707"/>
                <a:gd name="T66" fmla="*/ 245 w 431"/>
                <a:gd name="T67" fmla="*/ 442 h 707"/>
                <a:gd name="T68" fmla="*/ 235 w 431"/>
                <a:gd name="T69" fmla="*/ 476 h 707"/>
                <a:gd name="T70" fmla="*/ 232 w 431"/>
                <a:gd name="T71" fmla="*/ 517 h 707"/>
                <a:gd name="T72" fmla="*/ 223 w 431"/>
                <a:gd name="T73" fmla="*/ 553 h 707"/>
                <a:gd name="T74" fmla="*/ 220 w 431"/>
                <a:gd name="T75" fmla="*/ 599 h 707"/>
                <a:gd name="T76" fmla="*/ 215 w 431"/>
                <a:gd name="T77" fmla="*/ 631 h 707"/>
                <a:gd name="T78" fmla="*/ 204 w 431"/>
                <a:gd name="T79" fmla="*/ 650 h 707"/>
                <a:gd name="T80" fmla="*/ 206 w 431"/>
                <a:gd name="T81" fmla="*/ 688 h 707"/>
                <a:gd name="T82" fmla="*/ 217 w 431"/>
                <a:gd name="T83" fmla="*/ 700 h 707"/>
                <a:gd name="T84" fmla="*/ 94 w 431"/>
                <a:gd name="T85" fmla="*/ 702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31" h="707">
                  <a:moveTo>
                    <a:pt x="41" y="700"/>
                  </a:moveTo>
                  <a:lnTo>
                    <a:pt x="36" y="700"/>
                  </a:lnTo>
                  <a:lnTo>
                    <a:pt x="32" y="683"/>
                  </a:lnTo>
                  <a:lnTo>
                    <a:pt x="35" y="672"/>
                  </a:lnTo>
                  <a:lnTo>
                    <a:pt x="35" y="642"/>
                  </a:lnTo>
                  <a:lnTo>
                    <a:pt x="41" y="528"/>
                  </a:lnTo>
                  <a:lnTo>
                    <a:pt x="44" y="465"/>
                  </a:lnTo>
                  <a:lnTo>
                    <a:pt x="40" y="453"/>
                  </a:lnTo>
                  <a:lnTo>
                    <a:pt x="33" y="446"/>
                  </a:lnTo>
                  <a:lnTo>
                    <a:pt x="35" y="442"/>
                  </a:lnTo>
                  <a:lnTo>
                    <a:pt x="32" y="434"/>
                  </a:lnTo>
                  <a:lnTo>
                    <a:pt x="29" y="432"/>
                  </a:lnTo>
                  <a:lnTo>
                    <a:pt x="16" y="436"/>
                  </a:lnTo>
                  <a:lnTo>
                    <a:pt x="10" y="450"/>
                  </a:lnTo>
                  <a:lnTo>
                    <a:pt x="5" y="445"/>
                  </a:lnTo>
                  <a:lnTo>
                    <a:pt x="3" y="431"/>
                  </a:lnTo>
                  <a:lnTo>
                    <a:pt x="14" y="406"/>
                  </a:lnTo>
                  <a:lnTo>
                    <a:pt x="18" y="392"/>
                  </a:lnTo>
                  <a:lnTo>
                    <a:pt x="18" y="385"/>
                  </a:lnTo>
                  <a:lnTo>
                    <a:pt x="13" y="378"/>
                  </a:lnTo>
                  <a:lnTo>
                    <a:pt x="14" y="352"/>
                  </a:lnTo>
                  <a:lnTo>
                    <a:pt x="7" y="343"/>
                  </a:lnTo>
                  <a:lnTo>
                    <a:pt x="5" y="320"/>
                  </a:lnTo>
                  <a:lnTo>
                    <a:pt x="7" y="310"/>
                  </a:lnTo>
                  <a:lnTo>
                    <a:pt x="0" y="301"/>
                  </a:lnTo>
                  <a:lnTo>
                    <a:pt x="0" y="296"/>
                  </a:lnTo>
                  <a:lnTo>
                    <a:pt x="7" y="282"/>
                  </a:lnTo>
                  <a:lnTo>
                    <a:pt x="7" y="274"/>
                  </a:lnTo>
                  <a:lnTo>
                    <a:pt x="13" y="263"/>
                  </a:lnTo>
                  <a:lnTo>
                    <a:pt x="13" y="254"/>
                  </a:lnTo>
                  <a:lnTo>
                    <a:pt x="29" y="235"/>
                  </a:lnTo>
                  <a:lnTo>
                    <a:pt x="24" y="204"/>
                  </a:lnTo>
                  <a:lnTo>
                    <a:pt x="32" y="189"/>
                  </a:lnTo>
                  <a:lnTo>
                    <a:pt x="32" y="182"/>
                  </a:lnTo>
                  <a:lnTo>
                    <a:pt x="24" y="146"/>
                  </a:lnTo>
                  <a:lnTo>
                    <a:pt x="19" y="144"/>
                  </a:lnTo>
                  <a:lnTo>
                    <a:pt x="14" y="136"/>
                  </a:lnTo>
                  <a:lnTo>
                    <a:pt x="13" y="124"/>
                  </a:lnTo>
                  <a:lnTo>
                    <a:pt x="14" y="119"/>
                  </a:lnTo>
                  <a:lnTo>
                    <a:pt x="14" y="109"/>
                  </a:lnTo>
                  <a:lnTo>
                    <a:pt x="18" y="105"/>
                  </a:lnTo>
                  <a:lnTo>
                    <a:pt x="14" y="91"/>
                  </a:lnTo>
                  <a:lnTo>
                    <a:pt x="24" y="67"/>
                  </a:lnTo>
                  <a:lnTo>
                    <a:pt x="14" y="61"/>
                  </a:lnTo>
                  <a:lnTo>
                    <a:pt x="13" y="51"/>
                  </a:lnTo>
                  <a:lnTo>
                    <a:pt x="22" y="25"/>
                  </a:lnTo>
                  <a:lnTo>
                    <a:pt x="19" y="9"/>
                  </a:lnTo>
                  <a:lnTo>
                    <a:pt x="19" y="3"/>
                  </a:lnTo>
                  <a:lnTo>
                    <a:pt x="55" y="0"/>
                  </a:lnTo>
                  <a:lnTo>
                    <a:pt x="198" y="3"/>
                  </a:lnTo>
                  <a:lnTo>
                    <a:pt x="342" y="3"/>
                  </a:lnTo>
                  <a:lnTo>
                    <a:pt x="431" y="0"/>
                  </a:lnTo>
                  <a:lnTo>
                    <a:pt x="424" y="12"/>
                  </a:lnTo>
                  <a:lnTo>
                    <a:pt x="427" y="22"/>
                  </a:lnTo>
                  <a:lnTo>
                    <a:pt x="431" y="36"/>
                  </a:lnTo>
                  <a:lnTo>
                    <a:pt x="416" y="61"/>
                  </a:lnTo>
                  <a:lnTo>
                    <a:pt x="414" y="73"/>
                  </a:lnTo>
                  <a:lnTo>
                    <a:pt x="402" y="86"/>
                  </a:lnTo>
                  <a:lnTo>
                    <a:pt x="408" y="105"/>
                  </a:lnTo>
                  <a:lnTo>
                    <a:pt x="411" y="114"/>
                  </a:lnTo>
                  <a:lnTo>
                    <a:pt x="416" y="117"/>
                  </a:lnTo>
                  <a:lnTo>
                    <a:pt x="419" y="131"/>
                  </a:lnTo>
                  <a:lnTo>
                    <a:pt x="424" y="136"/>
                  </a:lnTo>
                  <a:lnTo>
                    <a:pt x="411" y="144"/>
                  </a:lnTo>
                  <a:lnTo>
                    <a:pt x="411" y="149"/>
                  </a:lnTo>
                  <a:lnTo>
                    <a:pt x="416" y="152"/>
                  </a:lnTo>
                  <a:lnTo>
                    <a:pt x="411" y="163"/>
                  </a:lnTo>
                  <a:lnTo>
                    <a:pt x="406" y="169"/>
                  </a:lnTo>
                  <a:lnTo>
                    <a:pt x="400" y="169"/>
                  </a:lnTo>
                  <a:lnTo>
                    <a:pt x="399" y="171"/>
                  </a:lnTo>
                  <a:lnTo>
                    <a:pt x="397" y="180"/>
                  </a:lnTo>
                  <a:lnTo>
                    <a:pt x="392" y="186"/>
                  </a:lnTo>
                  <a:lnTo>
                    <a:pt x="372" y="191"/>
                  </a:lnTo>
                  <a:lnTo>
                    <a:pt x="364" y="197"/>
                  </a:lnTo>
                  <a:lnTo>
                    <a:pt x="361" y="207"/>
                  </a:lnTo>
                  <a:lnTo>
                    <a:pt x="356" y="208"/>
                  </a:lnTo>
                  <a:lnTo>
                    <a:pt x="336" y="213"/>
                  </a:lnTo>
                  <a:lnTo>
                    <a:pt x="334" y="215"/>
                  </a:lnTo>
                  <a:lnTo>
                    <a:pt x="322" y="215"/>
                  </a:lnTo>
                  <a:lnTo>
                    <a:pt x="311" y="224"/>
                  </a:lnTo>
                  <a:lnTo>
                    <a:pt x="308" y="235"/>
                  </a:lnTo>
                  <a:lnTo>
                    <a:pt x="309" y="243"/>
                  </a:lnTo>
                  <a:lnTo>
                    <a:pt x="308" y="260"/>
                  </a:lnTo>
                  <a:lnTo>
                    <a:pt x="309" y="268"/>
                  </a:lnTo>
                  <a:lnTo>
                    <a:pt x="314" y="279"/>
                  </a:lnTo>
                  <a:lnTo>
                    <a:pt x="309" y="285"/>
                  </a:lnTo>
                  <a:lnTo>
                    <a:pt x="314" y="287"/>
                  </a:lnTo>
                  <a:lnTo>
                    <a:pt x="314" y="290"/>
                  </a:lnTo>
                  <a:lnTo>
                    <a:pt x="304" y="307"/>
                  </a:lnTo>
                  <a:lnTo>
                    <a:pt x="301" y="313"/>
                  </a:lnTo>
                  <a:lnTo>
                    <a:pt x="297" y="320"/>
                  </a:lnTo>
                  <a:lnTo>
                    <a:pt x="295" y="324"/>
                  </a:lnTo>
                  <a:lnTo>
                    <a:pt x="300" y="329"/>
                  </a:lnTo>
                  <a:lnTo>
                    <a:pt x="295" y="335"/>
                  </a:lnTo>
                  <a:lnTo>
                    <a:pt x="292" y="345"/>
                  </a:lnTo>
                  <a:lnTo>
                    <a:pt x="283" y="354"/>
                  </a:lnTo>
                  <a:lnTo>
                    <a:pt x="279" y="378"/>
                  </a:lnTo>
                  <a:lnTo>
                    <a:pt x="273" y="388"/>
                  </a:lnTo>
                  <a:lnTo>
                    <a:pt x="272" y="395"/>
                  </a:lnTo>
                  <a:lnTo>
                    <a:pt x="262" y="398"/>
                  </a:lnTo>
                  <a:lnTo>
                    <a:pt x="253" y="409"/>
                  </a:lnTo>
                  <a:lnTo>
                    <a:pt x="245" y="442"/>
                  </a:lnTo>
                  <a:lnTo>
                    <a:pt x="237" y="450"/>
                  </a:lnTo>
                  <a:lnTo>
                    <a:pt x="232" y="465"/>
                  </a:lnTo>
                  <a:lnTo>
                    <a:pt x="235" y="476"/>
                  </a:lnTo>
                  <a:lnTo>
                    <a:pt x="232" y="498"/>
                  </a:lnTo>
                  <a:lnTo>
                    <a:pt x="228" y="508"/>
                  </a:lnTo>
                  <a:lnTo>
                    <a:pt x="232" y="517"/>
                  </a:lnTo>
                  <a:lnTo>
                    <a:pt x="228" y="525"/>
                  </a:lnTo>
                  <a:lnTo>
                    <a:pt x="231" y="531"/>
                  </a:lnTo>
                  <a:lnTo>
                    <a:pt x="223" y="553"/>
                  </a:lnTo>
                  <a:lnTo>
                    <a:pt x="218" y="577"/>
                  </a:lnTo>
                  <a:lnTo>
                    <a:pt x="223" y="588"/>
                  </a:lnTo>
                  <a:lnTo>
                    <a:pt x="220" y="599"/>
                  </a:lnTo>
                  <a:lnTo>
                    <a:pt x="217" y="610"/>
                  </a:lnTo>
                  <a:lnTo>
                    <a:pt x="218" y="624"/>
                  </a:lnTo>
                  <a:lnTo>
                    <a:pt x="215" y="631"/>
                  </a:lnTo>
                  <a:lnTo>
                    <a:pt x="207" y="635"/>
                  </a:lnTo>
                  <a:lnTo>
                    <a:pt x="204" y="638"/>
                  </a:lnTo>
                  <a:lnTo>
                    <a:pt x="204" y="650"/>
                  </a:lnTo>
                  <a:lnTo>
                    <a:pt x="196" y="668"/>
                  </a:lnTo>
                  <a:lnTo>
                    <a:pt x="199" y="682"/>
                  </a:lnTo>
                  <a:lnTo>
                    <a:pt x="206" y="688"/>
                  </a:lnTo>
                  <a:lnTo>
                    <a:pt x="207" y="693"/>
                  </a:lnTo>
                  <a:lnTo>
                    <a:pt x="214" y="696"/>
                  </a:lnTo>
                  <a:lnTo>
                    <a:pt x="217" y="700"/>
                  </a:lnTo>
                  <a:lnTo>
                    <a:pt x="218" y="707"/>
                  </a:lnTo>
                  <a:lnTo>
                    <a:pt x="115" y="702"/>
                  </a:lnTo>
                  <a:lnTo>
                    <a:pt x="94" y="702"/>
                  </a:lnTo>
                  <a:lnTo>
                    <a:pt x="41" y="700"/>
                  </a:lnTo>
                  <a:close/>
                </a:path>
              </a:pathLst>
            </a:custGeom>
            <a:solidFill>
              <a:srgbClr val="ECE8E4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5" name="Freeform 1614">
              <a:extLst>
                <a:ext uri="{FF2B5EF4-FFF2-40B4-BE49-F238E27FC236}">
                  <a16:creationId xmlns:a16="http://schemas.microsoft.com/office/drawing/2014/main" id="{14085A74-B86E-4EB5-A70A-8124BE90CD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21" y="1632"/>
              <a:ext cx="1879" cy="826"/>
            </a:xfrm>
            <a:custGeom>
              <a:avLst/>
              <a:gdLst>
                <a:gd name="T0" fmla="*/ 1759 w 1879"/>
                <a:gd name="T1" fmla="*/ 475 h 826"/>
                <a:gd name="T2" fmla="*/ 1851 w 1879"/>
                <a:gd name="T3" fmla="*/ 411 h 826"/>
                <a:gd name="T4" fmla="*/ 1776 w 1879"/>
                <a:gd name="T5" fmla="*/ 559 h 826"/>
                <a:gd name="T6" fmla="*/ 1716 w 1879"/>
                <a:gd name="T7" fmla="*/ 663 h 826"/>
                <a:gd name="T8" fmla="*/ 1873 w 1879"/>
                <a:gd name="T9" fmla="*/ 409 h 826"/>
                <a:gd name="T10" fmla="*/ 1858 w 1879"/>
                <a:gd name="T11" fmla="*/ 439 h 826"/>
                <a:gd name="T12" fmla="*/ 807 w 1879"/>
                <a:gd name="T13" fmla="*/ 824 h 826"/>
                <a:gd name="T14" fmla="*/ 450 w 1879"/>
                <a:gd name="T15" fmla="*/ 807 h 826"/>
                <a:gd name="T16" fmla="*/ 237 w 1879"/>
                <a:gd name="T17" fmla="*/ 810 h 826"/>
                <a:gd name="T18" fmla="*/ 0 w 1879"/>
                <a:gd name="T19" fmla="*/ 809 h 826"/>
                <a:gd name="T20" fmla="*/ 105 w 1879"/>
                <a:gd name="T21" fmla="*/ 771 h 826"/>
                <a:gd name="T22" fmla="*/ 177 w 1879"/>
                <a:gd name="T23" fmla="*/ 727 h 826"/>
                <a:gd name="T24" fmla="*/ 212 w 1879"/>
                <a:gd name="T25" fmla="*/ 672 h 826"/>
                <a:gd name="T26" fmla="*/ 382 w 1879"/>
                <a:gd name="T27" fmla="*/ 548 h 826"/>
                <a:gd name="T28" fmla="*/ 395 w 1879"/>
                <a:gd name="T29" fmla="*/ 602 h 826"/>
                <a:gd name="T30" fmla="*/ 431 w 1879"/>
                <a:gd name="T31" fmla="*/ 627 h 826"/>
                <a:gd name="T32" fmla="*/ 506 w 1879"/>
                <a:gd name="T33" fmla="*/ 619 h 826"/>
                <a:gd name="T34" fmla="*/ 599 w 1879"/>
                <a:gd name="T35" fmla="*/ 611 h 826"/>
                <a:gd name="T36" fmla="*/ 630 w 1879"/>
                <a:gd name="T37" fmla="*/ 580 h 826"/>
                <a:gd name="T38" fmla="*/ 657 w 1879"/>
                <a:gd name="T39" fmla="*/ 588 h 826"/>
                <a:gd name="T40" fmla="*/ 713 w 1879"/>
                <a:gd name="T41" fmla="*/ 580 h 826"/>
                <a:gd name="T42" fmla="*/ 751 w 1879"/>
                <a:gd name="T43" fmla="*/ 548 h 826"/>
                <a:gd name="T44" fmla="*/ 751 w 1879"/>
                <a:gd name="T45" fmla="*/ 516 h 826"/>
                <a:gd name="T46" fmla="*/ 781 w 1879"/>
                <a:gd name="T47" fmla="*/ 461 h 826"/>
                <a:gd name="T48" fmla="*/ 826 w 1879"/>
                <a:gd name="T49" fmla="*/ 406 h 826"/>
                <a:gd name="T50" fmla="*/ 865 w 1879"/>
                <a:gd name="T51" fmla="*/ 342 h 826"/>
                <a:gd name="T52" fmla="*/ 889 w 1879"/>
                <a:gd name="T53" fmla="*/ 293 h 826"/>
                <a:gd name="T54" fmla="*/ 970 w 1879"/>
                <a:gd name="T55" fmla="*/ 299 h 826"/>
                <a:gd name="T56" fmla="*/ 1030 w 1879"/>
                <a:gd name="T57" fmla="*/ 199 h 826"/>
                <a:gd name="T58" fmla="*/ 1097 w 1879"/>
                <a:gd name="T59" fmla="*/ 157 h 826"/>
                <a:gd name="T60" fmla="*/ 1132 w 1879"/>
                <a:gd name="T61" fmla="*/ 141 h 826"/>
                <a:gd name="T62" fmla="*/ 1166 w 1879"/>
                <a:gd name="T63" fmla="*/ 97 h 826"/>
                <a:gd name="T64" fmla="*/ 1188 w 1879"/>
                <a:gd name="T65" fmla="*/ 34 h 826"/>
                <a:gd name="T66" fmla="*/ 1257 w 1879"/>
                <a:gd name="T67" fmla="*/ 55 h 826"/>
                <a:gd name="T68" fmla="*/ 1336 w 1879"/>
                <a:gd name="T69" fmla="*/ 41 h 826"/>
                <a:gd name="T70" fmla="*/ 1381 w 1879"/>
                <a:gd name="T71" fmla="*/ 81 h 826"/>
                <a:gd name="T72" fmla="*/ 1415 w 1879"/>
                <a:gd name="T73" fmla="*/ 114 h 826"/>
                <a:gd name="T74" fmla="*/ 1478 w 1879"/>
                <a:gd name="T75" fmla="*/ 171 h 826"/>
                <a:gd name="T76" fmla="*/ 1469 w 1879"/>
                <a:gd name="T77" fmla="*/ 211 h 826"/>
                <a:gd name="T78" fmla="*/ 1420 w 1879"/>
                <a:gd name="T79" fmla="*/ 274 h 826"/>
                <a:gd name="T80" fmla="*/ 1503 w 1879"/>
                <a:gd name="T81" fmla="*/ 360 h 826"/>
                <a:gd name="T82" fmla="*/ 1652 w 1879"/>
                <a:gd name="T83" fmla="*/ 447 h 826"/>
                <a:gd name="T84" fmla="*/ 1597 w 1879"/>
                <a:gd name="T85" fmla="*/ 514 h 826"/>
                <a:gd name="T86" fmla="*/ 1585 w 1879"/>
                <a:gd name="T87" fmla="*/ 517 h 826"/>
                <a:gd name="T88" fmla="*/ 1649 w 1879"/>
                <a:gd name="T89" fmla="*/ 605 h 826"/>
                <a:gd name="T90" fmla="*/ 1608 w 1879"/>
                <a:gd name="T91" fmla="*/ 591 h 826"/>
                <a:gd name="T92" fmla="*/ 1616 w 1879"/>
                <a:gd name="T93" fmla="*/ 639 h 826"/>
                <a:gd name="T94" fmla="*/ 1649 w 1879"/>
                <a:gd name="T95" fmla="*/ 675 h 826"/>
                <a:gd name="T96" fmla="*/ 1585 w 1879"/>
                <a:gd name="T97" fmla="*/ 674 h 826"/>
                <a:gd name="T98" fmla="*/ 1521 w 1879"/>
                <a:gd name="T99" fmla="*/ 628 h 826"/>
                <a:gd name="T100" fmla="*/ 1558 w 1879"/>
                <a:gd name="T101" fmla="*/ 643 h 826"/>
                <a:gd name="T102" fmla="*/ 1596 w 1879"/>
                <a:gd name="T103" fmla="*/ 721 h 826"/>
                <a:gd name="T104" fmla="*/ 1633 w 1879"/>
                <a:gd name="T105" fmla="*/ 721 h 826"/>
                <a:gd name="T106" fmla="*/ 1646 w 1879"/>
                <a:gd name="T107" fmla="*/ 708 h 826"/>
                <a:gd name="T108" fmla="*/ 1734 w 1879"/>
                <a:gd name="T109" fmla="*/ 809 h 826"/>
                <a:gd name="T110" fmla="*/ 1637 w 1879"/>
                <a:gd name="T111" fmla="*/ 820 h 826"/>
                <a:gd name="T112" fmla="*/ 1287 w 1879"/>
                <a:gd name="T113" fmla="*/ 821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79" h="826">
                  <a:moveTo>
                    <a:pt x="1740" y="544"/>
                  </a:moveTo>
                  <a:lnTo>
                    <a:pt x="1724" y="539"/>
                  </a:lnTo>
                  <a:lnTo>
                    <a:pt x="1726" y="534"/>
                  </a:lnTo>
                  <a:lnTo>
                    <a:pt x="1735" y="534"/>
                  </a:lnTo>
                  <a:lnTo>
                    <a:pt x="1732" y="533"/>
                  </a:lnTo>
                  <a:lnTo>
                    <a:pt x="1754" y="498"/>
                  </a:lnTo>
                  <a:lnTo>
                    <a:pt x="1759" y="475"/>
                  </a:lnTo>
                  <a:lnTo>
                    <a:pt x="1779" y="465"/>
                  </a:lnTo>
                  <a:lnTo>
                    <a:pt x="1781" y="456"/>
                  </a:lnTo>
                  <a:lnTo>
                    <a:pt x="1770" y="436"/>
                  </a:lnTo>
                  <a:lnTo>
                    <a:pt x="1787" y="434"/>
                  </a:lnTo>
                  <a:lnTo>
                    <a:pt x="1789" y="425"/>
                  </a:lnTo>
                  <a:lnTo>
                    <a:pt x="1795" y="417"/>
                  </a:lnTo>
                  <a:lnTo>
                    <a:pt x="1851" y="411"/>
                  </a:lnTo>
                  <a:lnTo>
                    <a:pt x="1796" y="501"/>
                  </a:lnTo>
                  <a:lnTo>
                    <a:pt x="1803" y="508"/>
                  </a:lnTo>
                  <a:lnTo>
                    <a:pt x="1778" y="533"/>
                  </a:lnTo>
                  <a:lnTo>
                    <a:pt x="1789" y="539"/>
                  </a:lnTo>
                  <a:lnTo>
                    <a:pt x="1771" y="542"/>
                  </a:lnTo>
                  <a:lnTo>
                    <a:pt x="1763" y="555"/>
                  </a:lnTo>
                  <a:lnTo>
                    <a:pt x="1776" y="559"/>
                  </a:lnTo>
                  <a:lnTo>
                    <a:pt x="1753" y="566"/>
                  </a:lnTo>
                  <a:lnTo>
                    <a:pt x="1751" y="578"/>
                  </a:lnTo>
                  <a:lnTo>
                    <a:pt x="1757" y="583"/>
                  </a:lnTo>
                  <a:lnTo>
                    <a:pt x="1749" y="580"/>
                  </a:lnTo>
                  <a:lnTo>
                    <a:pt x="1734" y="594"/>
                  </a:lnTo>
                  <a:lnTo>
                    <a:pt x="1726" y="657"/>
                  </a:lnTo>
                  <a:lnTo>
                    <a:pt x="1716" y="663"/>
                  </a:lnTo>
                  <a:lnTo>
                    <a:pt x="1707" y="611"/>
                  </a:lnTo>
                  <a:lnTo>
                    <a:pt x="1724" y="563"/>
                  </a:lnTo>
                  <a:lnTo>
                    <a:pt x="1718" y="563"/>
                  </a:lnTo>
                  <a:lnTo>
                    <a:pt x="1721" y="552"/>
                  </a:lnTo>
                  <a:lnTo>
                    <a:pt x="1726" y="542"/>
                  </a:lnTo>
                  <a:lnTo>
                    <a:pt x="1740" y="544"/>
                  </a:lnTo>
                  <a:close/>
                  <a:moveTo>
                    <a:pt x="1873" y="409"/>
                  </a:moveTo>
                  <a:lnTo>
                    <a:pt x="1879" y="409"/>
                  </a:lnTo>
                  <a:lnTo>
                    <a:pt x="1867" y="426"/>
                  </a:lnTo>
                  <a:lnTo>
                    <a:pt x="1859" y="447"/>
                  </a:lnTo>
                  <a:lnTo>
                    <a:pt x="1848" y="451"/>
                  </a:lnTo>
                  <a:lnTo>
                    <a:pt x="1858" y="443"/>
                  </a:lnTo>
                  <a:lnTo>
                    <a:pt x="1850" y="445"/>
                  </a:lnTo>
                  <a:lnTo>
                    <a:pt x="1858" y="439"/>
                  </a:lnTo>
                  <a:lnTo>
                    <a:pt x="1873" y="409"/>
                  </a:lnTo>
                  <a:close/>
                  <a:moveTo>
                    <a:pt x="1011" y="824"/>
                  </a:moveTo>
                  <a:lnTo>
                    <a:pt x="994" y="821"/>
                  </a:lnTo>
                  <a:lnTo>
                    <a:pt x="930" y="824"/>
                  </a:lnTo>
                  <a:lnTo>
                    <a:pt x="881" y="824"/>
                  </a:lnTo>
                  <a:lnTo>
                    <a:pt x="814" y="824"/>
                  </a:lnTo>
                  <a:lnTo>
                    <a:pt x="807" y="824"/>
                  </a:lnTo>
                  <a:lnTo>
                    <a:pt x="723" y="821"/>
                  </a:lnTo>
                  <a:lnTo>
                    <a:pt x="683" y="820"/>
                  </a:lnTo>
                  <a:lnTo>
                    <a:pt x="632" y="818"/>
                  </a:lnTo>
                  <a:lnTo>
                    <a:pt x="616" y="818"/>
                  </a:lnTo>
                  <a:lnTo>
                    <a:pt x="519" y="817"/>
                  </a:lnTo>
                  <a:lnTo>
                    <a:pt x="447" y="812"/>
                  </a:lnTo>
                  <a:lnTo>
                    <a:pt x="450" y="807"/>
                  </a:lnTo>
                  <a:lnTo>
                    <a:pt x="412" y="806"/>
                  </a:lnTo>
                  <a:lnTo>
                    <a:pt x="392" y="806"/>
                  </a:lnTo>
                  <a:lnTo>
                    <a:pt x="389" y="810"/>
                  </a:lnTo>
                  <a:lnTo>
                    <a:pt x="339" y="810"/>
                  </a:lnTo>
                  <a:lnTo>
                    <a:pt x="324" y="810"/>
                  </a:lnTo>
                  <a:lnTo>
                    <a:pt x="306" y="810"/>
                  </a:lnTo>
                  <a:lnTo>
                    <a:pt x="237" y="810"/>
                  </a:lnTo>
                  <a:lnTo>
                    <a:pt x="183" y="810"/>
                  </a:lnTo>
                  <a:lnTo>
                    <a:pt x="152" y="810"/>
                  </a:lnTo>
                  <a:lnTo>
                    <a:pt x="103" y="812"/>
                  </a:lnTo>
                  <a:lnTo>
                    <a:pt x="94" y="812"/>
                  </a:lnTo>
                  <a:lnTo>
                    <a:pt x="88" y="809"/>
                  </a:lnTo>
                  <a:lnTo>
                    <a:pt x="47" y="809"/>
                  </a:lnTo>
                  <a:lnTo>
                    <a:pt x="0" y="809"/>
                  </a:lnTo>
                  <a:lnTo>
                    <a:pt x="6" y="806"/>
                  </a:lnTo>
                  <a:lnTo>
                    <a:pt x="31" y="791"/>
                  </a:lnTo>
                  <a:lnTo>
                    <a:pt x="47" y="791"/>
                  </a:lnTo>
                  <a:lnTo>
                    <a:pt x="60" y="788"/>
                  </a:lnTo>
                  <a:lnTo>
                    <a:pt x="64" y="784"/>
                  </a:lnTo>
                  <a:lnTo>
                    <a:pt x="78" y="779"/>
                  </a:lnTo>
                  <a:lnTo>
                    <a:pt x="105" y="771"/>
                  </a:lnTo>
                  <a:lnTo>
                    <a:pt x="119" y="771"/>
                  </a:lnTo>
                  <a:lnTo>
                    <a:pt x="122" y="766"/>
                  </a:lnTo>
                  <a:lnTo>
                    <a:pt x="122" y="760"/>
                  </a:lnTo>
                  <a:lnTo>
                    <a:pt x="136" y="738"/>
                  </a:lnTo>
                  <a:lnTo>
                    <a:pt x="140" y="737"/>
                  </a:lnTo>
                  <a:lnTo>
                    <a:pt x="160" y="735"/>
                  </a:lnTo>
                  <a:lnTo>
                    <a:pt x="177" y="727"/>
                  </a:lnTo>
                  <a:lnTo>
                    <a:pt x="182" y="716"/>
                  </a:lnTo>
                  <a:lnTo>
                    <a:pt x="179" y="705"/>
                  </a:lnTo>
                  <a:lnTo>
                    <a:pt x="193" y="694"/>
                  </a:lnTo>
                  <a:lnTo>
                    <a:pt x="212" y="688"/>
                  </a:lnTo>
                  <a:lnTo>
                    <a:pt x="213" y="680"/>
                  </a:lnTo>
                  <a:lnTo>
                    <a:pt x="215" y="675"/>
                  </a:lnTo>
                  <a:lnTo>
                    <a:pt x="212" y="672"/>
                  </a:lnTo>
                  <a:lnTo>
                    <a:pt x="213" y="666"/>
                  </a:lnTo>
                  <a:lnTo>
                    <a:pt x="248" y="644"/>
                  </a:lnTo>
                  <a:lnTo>
                    <a:pt x="251" y="643"/>
                  </a:lnTo>
                  <a:lnTo>
                    <a:pt x="284" y="627"/>
                  </a:lnTo>
                  <a:lnTo>
                    <a:pt x="295" y="625"/>
                  </a:lnTo>
                  <a:lnTo>
                    <a:pt x="307" y="611"/>
                  </a:lnTo>
                  <a:lnTo>
                    <a:pt x="382" y="548"/>
                  </a:lnTo>
                  <a:lnTo>
                    <a:pt x="387" y="555"/>
                  </a:lnTo>
                  <a:lnTo>
                    <a:pt x="384" y="559"/>
                  </a:lnTo>
                  <a:lnTo>
                    <a:pt x="378" y="563"/>
                  </a:lnTo>
                  <a:lnTo>
                    <a:pt x="376" y="566"/>
                  </a:lnTo>
                  <a:lnTo>
                    <a:pt x="392" y="581"/>
                  </a:lnTo>
                  <a:lnTo>
                    <a:pt x="389" y="592"/>
                  </a:lnTo>
                  <a:lnTo>
                    <a:pt x="395" y="602"/>
                  </a:lnTo>
                  <a:lnTo>
                    <a:pt x="403" y="606"/>
                  </a:lnTo>
                  <a:lnTo>
                    <a:pt x="404" y="611"/>
                  </a:lnTo>
                  <a:lnTo>
                    <a:pt x="408" y="617"/>
                  </a:lnTo>
                  <a:lnTo>
                    <a:pt x="414" y="619"/>
                  </a:lnTo>
                  <a:lnTo>
                    <a:pt x="420" y="617"/>
                  </a:lnTo>
                  <a:lnTo>
                    <a:pt x="430" y="621"/>
                  </a:lnTo>
                  <a:lnTo>
                    <a:pt x="431" y="627"/>
                  </a:lnTo>
                  <a:lnTo>
                    <a:pt x="439" y="630"/>
                  </a:lnTo>
                  <a:lnTo>
                    <a:pt x="448" y="639"/>
                  </a:lnTo>
                  <a:lnTo>
                    <a:pt x="473" y="639"/>
                  </a:lnTo>
                  <a:lnTo>
                    <a:pt x="484" y="633"/>
                  </a:lnTo>
                  <a:lnTo>
                    <a:pt x="486" y="627"/>
                  </a:lnTo>
                  <a:lnTo>
                    <a:pt x="489" y="627"/>
                  </a:lnTo>
                  <a:lnTo>
                    <a:pt x="506" y="619"/>
                  </a:lnTo>
                  <a:lnTo>
                    <a:pt x="508" y="610"/>
                  </a:lnTo>
                  <a:lnTo>
                    <a:pt x="516" y="602"/>
                  </a:lnTo>
                  <a:lnTo>
                    <a:pt x="525" y="616"/>
                  </a:lnTo>
                  <a:lnTo>
                    <a:pt x="547" y="630"/>
                  </a:lnTo>
                  <a:lnTo>
                    <a:pt x="566" y="621"/>
                  </a:lnTo>
                  <a:lnTo>
                    <a:pt x="589" y="617"/>
                  </a:lnTo>
                  <a:lnTo>
                    <a:pt x="599" y="611"/>
                  </a:lnTo>
                  <a:lnTo>
                    <a:pt x="602" y="614"/>
                  </a:lnTo>
                  <a:lnTo>
                    <a:pt x="604" y="616"/>
                  </a:lnTo>
                  <a:lnTo>
                    <a:pt x="611" y="614"/>
                  </a:lnTo>
                  <a:lnTo>
                    <a:pt x="629" y="602"/>
                  </a:lnTo>
                  <a:lnTo>
                    <a:pt x="630" y="599"/>
                  </a:lnTo>
                  <a:lnTo>
                    <a:pt x="624" y="589"/>
                  </a:lnTo>
                  <a:lnTo>
                    <a:pt x="630" y="580"/>
                  </a:lnTo>
                  <a:lnTo>
                    <a:pt x="641" y="581"/>
                  </a:lnTo>
                  <a:lnTo>
                    <a:pt x="641" y="588"/>
                  </a:lnTo>
                  <a:lnTo>
                    <a:pt x="647" y="589"/>
                  </a:lnTo>
                  <a:lnTo>
                    <a:pt x="649" y="592"/>
                  </a:lnTo>
                  <a:lnTo>
                    <a:pt x="652" y="591"/>
                  </a:lnTo>
                  <a:lnTo>
                    <a:pt x="652" y="589"/>
                  </a:lnTo>
                  <a:lnTo>
                    <a:pt x="657" y="588"/>
                  </a:lnTo>
                  <a:lnTo>
                    <a:pt x="662" y="589"/>
                  </a:lnTo>
                  <a:lnTo>
                    <a:pt x="685" y="572"/>
                  </a:lnTo>
                  <a:lnTo>
                    <a:pt x="698" y="566"/>
                  </a:lnTo>
                  <a:lnTo>
                    <a:pt x="705" y="564"/>
                  </a:lnTo>
                  <a:lnTo>
                    <a:pt x="710" y="569"/>
                  </a:lnTo>
                  <a:lnTo>
                    <a:pt x="712" y="575"/>
                  </a:lnTo>
                  <a:lnTo>
                    <a:pt x="713" y="580"/>
                  </a:lnTo>
                  <a:lnTo>
                    <a:pt x="724" y="575"/>
                  </a:lnTo>
                  <a:lnTo>
                    <a:pt x="732" y="566"/>
                  </a:lnTo>
                  <a:lnTo>
                    <a:pt x="740" y="564"/>
                  </a:lnTo>
                  <a:lnTo>
                    <a:pt x="741" y="561"/>
                  </a:lnTo>
                  <a:lnTo>
                    <a:pt x="756" y="555"/>
                  </a:lnTo>
                  <a:lnTo>
                    <a:pt x="757" y="547"/>
                  </a:lnTo>
                  <a:lnTo>
                    <a:pt x="751" y="548"/>
                  </a:lnTo>
                  <a:lnTo>
                    <a:pt x="745" y="547"/>
                  </a:lnTo>
                  <a:lnTo>
                    <a:pt x="749" y="538"/>
                  </a:lnTo>
                  <a:lnTo>
                    <a:pt x="765" y="530"/>
                  </a:lnTo>
                  <a:lnTo>
                    <a:pt x="770" y="523"/>
                  </a:lnTo>
                  <a:lnTo>
                    <a:pt x="762" y="517"/>
                  </a:lnTo>
                  <a:lnTo>
                    <a:pt x="751" y="517"/>
                  </a:lnTo>
                  <a:lnTo>
                    <a:pt x="751" y="516"/>
                  </a:lnTo>
                  <a:lnTo>
                    <a:pt x="752" y="509"/>
                  </a:lnTo>
                  <a:lnTo>
                    <a:pt x="751" y="506"/>
                  </a:lnTo>
                  <a:lnTo>
                    <a:pt x="762" y="494"/>
                  </a:lnTo>
                  <a:lnTo>
                    <a:pt x="762" y="484"/>
                  </a:lnTo>
                  <a:lnTo>
                    <a:pt x="770" y="480"/>
                  </a:lnTo>
                  <a:lnTo>
                    <a:pt x="768" y="472"/>
                  </a:lnTo>
                  <a:lnTo>
                    <a:pt x="781" y="461"/>
                  </a:lnTo>
                  <a:lnTo>
                    <a:pt x="781" y="456"/>
                  </a:lnTo>
                  <a:lnTo>
                    <a:pt x="784" y="451"/>
                  </a:lnTo>
                  <a:lnTo>
                    <a:pt x="793" y="447"/>
                  </a:lnTo>
                  <a:lnTo>
                    <a:pt x="795" y="442"/>
                  </a:lnTo>
                  <a:lnTo>
                    <a:pt x="806" y="428"/>
                  </a:lnTo>
                  <a:lnTo>
                    <a:pt x="820" y="418"/>
                  </a:lnTo>
                  <a:lnTo>
                    <a:pt x="826" y="406"/>
                  </a:lnTo>
                  <a:lnTo>
                    <a:pt x="829" y="398"/>
                  </a:lnTo>
                  <a:lnTo>
                    <a:pt x="834" y="387"/>
                  </a:lnTo>
                  <a:lnTo>
                    <a:pt x="832" y="382"/>
                  </a:lnTo>
                  <a:lnTo>
                    <a:pt x="839" y="371"/>
                  </a:lnTo>
                  <a:lnTo>
                    <a:pt x="839" y="365"/>
                  </a:lnTo>
                  <a:lnTo>
                    <a:pt x="857" y="345"/>
                  </a:lnTo>
                  <a:lnTo>
                    <a:pt x="865" y="342"/>
                  </a:lnTo>
                  <a:lnTo>
                    <a:pt x="867" y="335"/>
                  </a:lnTo>
                  <a:lnTo>
                    <a:pt x="862" y="332"/>
                  </a:lnTo>
                  <a:lnTo>
                    <a:pt x="862" y="327"/>
                  </a:lnTo>
                  <a:lnTo>
                    <a:pt x="872" y="316"/>
                  </a:lnTo>
                  <a:lnTo>
                    <a:pt x="878" y="316"/>
                  </a:lnTo>
                  <a:lnTo>
                    <a:pt x="881" y="306"/>
                  </a:lnTo>
                  <a:lnTo>
                    <a:pt x="889" y="293"/>
                  </a:lnTo>
                  <a:lnTo>
                    <a:pt x="887" y="274"/>
                  </a:lnTo>
                  <a:lnTo>
                    <a:pt x="893" y="269"/>
                  </a:lnTo>
                  <a:lnTo>
                    <a:pt x="893" y="260"/>
                  </a:lnTo>
                  <a:lnTo>
                    <a:pt x="898" y="248"/>
                  </a:lnTo>
                  <a:lnTo>
                    <a:pt x="922" y="260"/>
                  </a:lnTo>
                  <a:lnTo>
                    <a:pt x="933" y="287"/>
                  </a:lnTo>
                  <a:lnTo>
                    <a:pt x="970" y="299"/>
                  </a:lnTo>
                  <a:lnTo>
                    <a:pt x="980" y="291"/>
                  </a:lnTo>
                  <a:lnTo>
                    <a:pt x="989" y="280"/>
                  </a:lnTo>
                  <a:lnTo>
                    <a:pt x="1014" y="229"/>
                  </a:lnTo>
                  <a:lnTo>
                    <a:pt x="1014" y="227"/>
                  </a:lnTo>
                  <a:lnTo>
                    <a:pt x="1022" y="229"/>
                  </a:lnTo>
                  <a:lnTo>
                    <a:pt x="1022" y="216"/>
                  </a:lnTo>
                  <a:lnTo>
                    <a:pt x="1030" y="199"/>
                  </a:lnTo>
                  <a:lnTo>
                    <a:pt x="1030" y="191"/>
                  </a:lnTo>
                  <a:lnTo>
                    <a:pt x="1035" y="190"/>
                  </a:lnTo>
                  <a:lnTo>
                    <a:pt x="1044" y="177"/>
                  </a:lnTo>
                  <a:lnTo>
                    <a:pt x="1071" y="199"/>
                  </a:lnTo>
                  <a:lnTo>
                    <a:pt x="1083" y="180"/>
                  </a:lnTo>
                  <a:lnTo>
                    <a:pt x="1088" y="166"/>
                  </a:lnTo>
                  <a:lnTo>
                    <a:pt x="1097" y="157"/>
                  </a:lnTo>
                  <a:lnTo>
                    <a:pt x="1099" y="152"/>
                  </a:lnTo>
                  <a:lnTo>
                    <a:pt x="1104" y="152"/>
                  </a:lnTo>
                  <a:lnTo>
                    <a:pt x="1105" y="160"/>
                  </a:lnTo>
                  <a:lnTo>
                    <a:pt x="1113" y="153"/>
                  </a:lnTo>
                  <a:lnTo>
                    <a:pt x="1121" y="146"/>
                  </a:lnTo>
                  <a:lnTo>
                    <a:pt x="1124" y="138"/>
                  </a:lnTo>
                  <a:lnTo>
                    <a:pt x="1132" y="141"/>
                  </a:lnTo>
                  <a:lnTo>
                    <a:pt x="1141" y="127"/>
                  </a:lnTo>
                  <a:lnTo>
                    <a:pt x="1143" y="125"/>
                  </a:lnTo>
                  <a:lnTo>
                    <a:pt x="1140" y="121"/>
                  </a:lnTo>
                  <a:lnTo>
                    <a:pt x="1144" y="116"/>
                  </a:lnTo>
                  <a:lnTo>
                    <a:pt x="1152" y="105"/>
                  </a:lnTo>
                  <a:lnTo>
                    <a:pt x="1157" y="99"/>
                  </a:lnTo>
                  <a:lnTo>
                    <a:pt x="1166" y="97"/>
                  </a:lnTo>
                  <a:lnTo>
                    <a:pt x="1169" y="89"/>
                  </a:lnTo>
                  <a:lnTo>
                    <a:pt x="1176" y="83"/>
                  </a:lnTo>
                  <a:lnTo>
                    <a:pt x="1169" y="74"/>
                  </a:lnTo>
                  <a:lnTo>
                    <a:pt x="1169" y="70"/>
                  </a:lnTo>
                  <a:lnTo>
                    <a:pt x="1176" y="61"/>
                  </a:lnTo>
                  <a:lnTo>
                    <a:pt x="1173" y="56"/>
                  </a:lnTo>
                  <a:lnTo>
                    <a:pt x="1188" y="34"/>
                  </a:lnTo>
                  <a:lnTo>
                    <a:pt x="1188" y="30"/>
                  </a:lnTo>
                  <a:lnTo>
                    <a:pt x="1183" y="28"/>
                  </a:lnTo>
                  <a:lnTo>
                    <a:pt x="1187" y="23"/>
                  </a:lnTo>
                  <a:lnTo>
                    <a:pt x="1187" y="0"/>
                  </a:lnTo>
                  <a:lnTo>
                    <a:pt x="1204" y="9"/>
                  </a:lnTo>
                  <a:lnTo>
                    <a:pt x="1213" y="19"/>
                  </a:lnTo>
                  <a:lnTo>
                    <a:pt x="1257" y="55"/>
                  </a:lnTo>
                  <a:lnTo>
                    <a:pt x="1303" y="92"/>
                  </a:lnTo>
                  <a:lnTo>
                    <a:pt x="1304" y="91"/>
                  </a:lnTo>
                  <a:lnTo>
                    <a:pt x="1307" y="75"/>
                  </a:lnTo>
                  <a:lnTo>
                    <a:pt x="1317" y="61"/>
                  </a:lnTo>
                  <a:lnTo>
                    <a:pt x="1320" y="50"/>
                  </a:lnTo>
                  <a:lnTo>
                    <a:pt x="1325" y="41"/>
                  </a:lnTo>
                  <a:lnTo>
                    <a:pt x="1336" y="41"/>
                  </a:lnTo>
                  <a:lnTo>
                    <a:pt x="1350" y="45"/>
                  </a:lnTo>
                  <a:lnTo>
                    <a:pt x="1361" y="45"/>
                  </a:lnTo>
                  <a:lnTo>
                    <a:pt x="1367" y="55"/>
                  </a:lnTo>
                  <a:lnTo>
                    <a:pt x="1378" y="59"/>
                  </a:lnTo>
                  <a:lnTo>
                    <a:pt x="1384" y="66"/>
                  </a:lnTo>
                  <a:lnTo>
                    <a:pt x="1386" y="69"/>
                  </a:lnTo>
                  <a:lnTo>
                    <a:pt x="1381" y="81"/>
                  </a:lnTo>
                  <a:lnTo>
                    <a:pt x="1372" y="88"/>
                  </a:lnTo>
                  <a:lnTo>
                    <a:pt x="1375" y="99"/>
                  </a:lnTo>
                  <a:lnTo>
                    <a:pt x="1381" y="102"/>
                  </a:lnTo>
                  <a:lnTo>
                    <a:pt x="1386" y="108"/>
                  </a:lnTo>
                  <a:lnTo>
                    <a:pt x="1390" y="111"/>
                  </a:lnTo>
                  <a:lnTo>
                    <a:pt x="1409" y="111"/>
                  </a:lnTo>
                  <a:lnTo>
                    <a:pt x="1415" y="114"/>
                  </a:lnTo>
                  <a:lnTo>
                    <a:pt x="1431" y="124"/>
                  </a:lnTo>
                  <a:lnTo>
                    <a:pt x="1433" y="138"/>
                  </a:lnTo>
                  <a:lnTo>
                    <a:pt x="1453" y="142"/>
                  </a:lnTo>
                  <a:lnTo>
                    <a:pt x="1461" y="152"/>
                  </a:lnTo>
                  <a:lnTo>
                    <a:pt x="1470" y="155"/>
                  </a:lnTo>
                  <a:lnTo>
                    <a:pt x="1472" y="164"/>
                  </a:lnTo>
                  <a:lnTo>
                    <a:pt x="1478" y="171"/>
                  </a:lnTo>
                  <a:lnTo>
                    <a:pt x="1478" y="179"/>
                  </a:lnTo>
                  <a:lnTo>
                    <a:pt x="1478" y="180"/>
                  </a:lnTo>
                  <a:lnTo>
                    <a:pt x="1480" y="186"/>
                  </a:lnTo>
                  <a:lnTo>
                    <a:pt x="1478" y="191"/>
                  </a:lnTo>
                  <a:lnTo>
                    <a:pt x="1478" y="211"/>
                  </a:lnTo>
                  <a:lnTo>
                    <a:pt x="1475" y="215"/>
                  </a:lnTo>
                  <a:lnTo>
                    <a:pt x="1469" y="211"/>
                  </a:lnTo>
                  <a:lnTo>
                    <a:pt x="1467" y="216"/>
                  </a:lnTo>
                  <a:lnTo>
                    <a:pt x="1459" y="224"/>
                  </a:lnTo>
                  <a:lnTo>
                    <a:pt x="1459" y="233"/>
                  </a:lnTo>
                  <a:lnTo>
                    <a:pt x="1444" y="238"/>
                  </a:lnTo>
                  <a:lnTo>
                    <a:pt x="1444" y="229"/>
                  </a:lnTo>
                  <a:lnTo>
                    <a:pt x="1436" y="232"/>
                  </a:lnTo>
                  <a:lnTo>
                    <a:pt x="1420" y="274"/>
                  </a:lnTo>
                  <a:lnTo>
                    <a:pt x="1412" y="291"/>
                  </a:lnTo>
                  <a:lnTo>
                    <a:pt x="1423" y="315"/>
                  </a:lnTo>
                  <a:lnTo>
                    <a:pt x="1415" y="318"/>
                  </a:lnTo>
                  <a:lnTo>
                    <a:pt x="1434" y="323"/>
                  </a:lnTo>
                  <a:lnTo>
                    <a:pt x="1477" y="310"/>
                  </a:lnTo>
                  <a:lnTo>
                    <a:pt x="1488" y="337"/>
                  </a:lnTo>
                  <a:lnTo>
                    <a:pt x="1503" y="360"/>
                  </a:lnTo>
                  <a:lnTo>
                    <a:pt x="1579" y="382"/>
                  </a:lnTo>
                  <a:lnTo>
                    <a:pt x="1588" y="396"/>
                  </a:lnTo>
                  <a:lnTo>
                    <a:pt x="1586" y="409"/>
                  </a:lnTo>
                  <a:lnTo>
                    <a:pt x="1582" y="415"/>
                  </a:lnTo>
                  <a:lnTo>
                    <a:pt x="1594" y="414"/>
                  </a:lnTo>
                  <a:lnTo>
                    <a:pt x="1627" y="428"/>
                  </a:lnTo>
                  <a:lnTo>
                    <a:pt x="1652" y="447"/>
                  </a:lnTo>
                  <a:lnTo>
                    <a:pt x="1654" y="458"/>
                  </a:lnTo>
                  <a:lnTo>
                    <a:pt x="1640" y="473"/>
                  </a:lnTo>
                  <a:lnTo>
                    <a:pt x="1641" y="497"/>
                  </a:lnTo>
                  <a:lnTo>
                    <a:pt x="1632" y="501"/>
                  </a:lnTo>
                  <a:lnTo>
                    <a:pt x="1640" y="508"/>
                  </a:lnTo>
                  <a:lnTo>
                    <a:pt x="1633" y="523"/>
                  </a:lnTo>
                  <a:lnTo>
                    <a:pt x="1597" y="514"/>
                  </a:lnTo>
                  <a:lnTo>
                    <a:pt x="1580" y="481"/>
                  </a:lnTo>
                  <a:lnTo>
                    <a:pt x="1569" y="473"/>
                  </a:lnTo>
                  <a:lnTo>
                    <a:pt x="1539" y="439"/>
                  </a:lnTo>
                  <a:lnTo>
                    <a:pt x="1527" y="439"/>
                  </a:lnTo>
                  <a:lnTo>
                    <a:pt x="1549" y="473"/>
                  </a:lnTo>
                  <a:lnTo>
                    <a:pt x="1558" y="480"/>
                  </a:lnTo>
                  <a:lnTo>
                    <a:pt x="1585" y="517"/>
                  </a:lnTo>
                  <a:lnTo>
                    <a:pt x="1641" y="544"/>
                  </a:lnTo>
                  <a:lnTo>
                    <a:pt x="1633" y="552"/>
                  </a:lnTo>
                  <a:lnTo>
                    <a:pt x="1596" y="542"/>
                  </a:lnTo>
                  <a:lnTo>
                    <a:pt x="1615" y="553"/>
                  </a:lnTo>
                  <a:lnTo>
                    <a:pt x="1632" y="553"/>
                  </a:lnTo>
                  <a:lnTo>
                    <a:pt x="1654" y="589"/>
                  </a:lnTo>
                  <a:lnTo>
                    <a:pt x="1649" y="605"/>
                  </a:lnTo>
                  <a:lnTo>
                    <a:pt x="1643" y="605"/>
                  </a:lnTo>
                  <a:lnTo>
                    <a:pt x="1635" y="588"/>
                  </a:lnTo>
                  <a:lnTo>
                    <a:pt x="1611" y="570"/>
                  </a:lnTo>
                  <a:lnTo>
                    <a:pt x="1607" y="580"/>
                  </a:lnTo>
                  <a:lnTo>
                    <a:pt x="1618" y="581"/>
                  </a:lnTo>
                  <a:lnTo>
                    <a:pt x="1621" y="592"/>
                  </a:lnTo>
                  <a:lnTo>
                    <a:pt x="1608" y="591"/>
                  </a:lnTo>
                  <a:lnTo>
                    <a:pt x="1624" y="616"/>
                  </a:lnTo>
                  <a:lnTo>
                    <a:pt x="1607" y="627"/>
                  </a:lnTo>
                  <a:lnTo>
                    <a:pt x="1566" y="581"/>
                  </a:lnTo>
                  <a:lnTo>
                    <a:pt x="1553" y="580"/>
                  </a:lnTo>
                  <a:lnTo>
                    <a:pt x="1561" y="592"/>
                  </a:lnTo>
                  <a:lnTo>
                    <a:pt x="1579" y="616"/>
                  </a:lnTo>
                  <a:lnTo>
                    <a:pt x="1616" y="639"/>
                  </a:lnTo>
                  <a:lnTo>
                    <a:pt x="1618" y="655"/>
                  </a:lnTo>
                  <a:lnTo>
                    <a:pt x="1622" y="649"/>
                  </a:lnTo>
                  <a:lnTo>
                    <a:pt x="1630" y="657"/>
                  </a:lnTo>
                  <a:lnTo>
                    <a:pt x="1635" y="647"/>
                  </a:lnTo>
                  <a:lnTo>
                    <a:pt x="1646" y="663"/>
                  </a:lnTo>
                  <a:lnTo>
                    <a:pt x="1622" y="666"/>
                  </a:lnTo>
                  <a:lnTo>
                    <a:pt x="1649" y="675"/>
                  </a:lnTo>
                  <a:lnTo>
                    <a:pt x="1644" y="691"/>
                  </a:lnTo>
                  <a:lnTo>
                    <a:pt x="1624" y="701"/>
                  </a:lnTo>
                  <a:lnTo>
                    <a:pt x="1616" y="707"/>
                  </a:lnTo>
                  <a:lnTo>
                    <a:pt x="1591" y="679"/>
                  </a:lnTo>
                  <a:lnTo>
                    <a:pt x="1596" y="672"/>
                  </a:lnTo>
                  <a:lnTo>
                    <a:pt x="1585" y="664"/>
                  </a:lnTo>
                  <a:lnTo>
                    <a:pt x="1585" y="674"/>
                  </a:lnTo>
                  <a:lnTo>
                    <a:pt x="1571" y="661"/>
                  </a:lnTo>
                  <a:lnTo>
                    <a:pt x="1575" y="647"/>
                  </a:lnTo>
                  <a:lnTo>
                    <a:pt x="1566" y="635"/>
                  </a:lnTo>
                  <a:lnTo>
                    <a:pt x="1557" y="633"/>
                  </a:lnTo>
                  <a:lnTo>
                    <a:pt x="1544" y="644"/>
                  </a:lnTo>
                  <a:lnTo>
                    <a:pt x="1533" y="630"/>
                  </a:lnTo>
                  <a:lnTo>
                    <a:pt x="1521" y="628"/>
                  </a:lnTo>
                  <a:lnTo>
                    <a:pt x="1516" y="608"/>
                  </a:lnTo>
                  <a:lnTo>
                    <a:pt x="1514" y="625"/>
                  </a:lnTo>
                  <a:lnTo>
                    <a:pt x="1500" y="630"/>
                  </a:lnTo>
                  <a:lnTo>
                    <a:pt x="1511" y="643"/>
                  </a:lnTo>
                  <a:lnTo>
                    <a:pt x="1533" y="639"/>
                  </a:lnTo>
                  <a:lnTo>
                    <a:pt x="1549" y="655"/>
                  </a:lnTo>
                  <a:lnTo>
                    <a:pt x="1558" y="643"/>
                  </a:lnTo>
                  <a:lnTo>
                    <a:pt x="1561" y="655"/>
                  </a:lnTo>
                  <a:lnTo>
                    <a:pt x="1561" y="682"/>
                  </a:lnTo>
                  <a:lnTo>
                    <a:pt x="1582" y="691"/>
                  </a:lnTo>
                  <a:lnTo>
                    <a:pt x="1575" y="699"/>
                  </a:lnTo>
                  <a:lnTo>
                    <a:pt x="1586" y="694"/>
                  </a:lnTo>
                  <a:lnTo>
                    <a:pt x="1600" y="708"/>
                  </a:lnTo>
                  <a:lnTo>
                    <a:pt x="1596" y="721"/>
                  </a:lnTo>
                  <a:lnTo>
                    <a:pt x="1604" y="719"/>
                  </a:lnTo>
                  <a:lnTo>
                    <a:pt x="1600" y="727"/>
                  </a:lnTo>
                  <a:lnTo>
                    <a:pt x="1586" y="743"/>
                  </a:lnTo>
                  <a:lnTo>
                    <a:pt x="1586" y="754"/>
                  </a:lnTo>
                  <a:lnTo>
                    <a:pt x="1597" y="733"/>
                  </a:lnTo>
                  <a:lnTo>
                    <a:pt x="1618" y="726"/>
                  </a:lnTo>
                  <a:lnTo>
                    <a:pt x="1633" y="721"/>
                  </a:lnTo>
                  <a:lnTo>
                    <a:pt x="1635" y="737"/>
                  </a:lnTo>
                  <a:lnTo>
                    <a:pt x="1622" y="743"/>
                  </a:lnTo>
                  <a:lnTo>
                    <a:pt x="1622" y="746"/>
                  </a:lnTo>
                  <a:lnTo>
                    <a:pt x="1640" y="740"/>
                  </a:lnTo>
                  <a:lnTo>
                    <a:pt x="1644" y="746"/>
                  </a:lnTo>
                  <a:lnTo>
                    <a:pt x="1643" y="715"/>
                  </a:lnTo>
                  <a:lnTo>
                    <a:pt x="1646" y="708"/>
                  </a:lnTo>
                  <a:lnTo>
                    <a:pt x="1666" y="716"/>
                  </a:lnTo>
                  <a:lnTo>
                    <a:pt x="1668" y="724"/>
                  </a:lnTo>
                  <a:lnTo>
                    <a:pt x="1685" y="716"/>
                  </a:lnTo>
                  <a:lnTo>
                    <a:pt x="1712" y="719"/>
                  </a:lnTo>
                  <a:lnTo>
                    <a:pt x="1737" y="821"/>
                  </a:lnTo>
                  <a:lnTo>
                    <a:pt x="1732" y="820"/>
                  </a:lnTo>
                  <a:lnTo>
                    <a:pt x="1734" y="809"/>
                  </a:lnTo>
                  <a:lnTo>
                    <a:pt x="1723" y="774"/>
                  </a:lnTo>
                  <a:lnTo>
                    <a:pt x="1712" y="820"/>
                  </a:lnTo>
                  <a:lnTo>
                    <a:pt x="1705" y="820"/>
                  </a:lnTo>
                  <a:lnTo>
                    <a:pt x="1696" y="809"/>
                  </a:lnTo>
                  <a:lnTo>
                    <a:pt x="1699" y="820"/>
                  </a:lnTo>
                  <a:lnTo>
                    <a:pt x="1682" y="820"/>
                  </a:lnTo>
                  <a:lnTo>
                    <a:pt x="1637" y="820"/>
                  </a:lnTo>
                  <a:lnTo>
                    <a:pt x="1599" y="821"/>
                  </a:lnTo>
                  <a:lnTo>
                    <a:pt x="1585" y="821"/>
                  </a:lnTo>
                  <a:lnTo>
                    <a:pt x="1505" y="821"/>
                  </a:lnTo>
                  <a:lnTo>
                    <a:pt x="1448" y="820"/>
                  </a:lnTo>
                  <a:lnTo>
                    <a:pt x="1415" y="821"/>
                  </a:lnTo>
                  <a:lnTo>
                    <a:pt x="1317" y="821"/>
                  </a:lnTo>
                  <a:lnTo>
                    <a:pt x="1287" y="821"/>
                  </a:lnTo>
                  <a:lnTo>
                    <a:pt x="1252" y="821"/>
                  </a:lnTo>
                  <a:lnTo>
                    <a:pt x="1193" y="824"/>
                  </a:lnTo>
                  <a:lnTo>
                    <a:pt x="1162" y="826"/>
                  </a:lnTo>
                  <a:lnTo>
                    <a:pt x="1099" y="824"/>
                  </a:lnTo>
                  <a:lnTo>
                    <a:pt x="1088" y="824"/>
                  </a:lnTo>
                  <a:lnTo>
                    <a:pt x="1011" y="824"/>
                  </a:lnTo>
                  <a:close/>
                </a:path>
              </a:pathLst>
            </a:custGeom>
            <a:solidFill>
              <a:srgbClr val="ECE8E4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6" name="Freeform 1615">
              <a:extLst>
                <a:ext uri="{FF2B5EF4-FFF2-40B4-BE49-F238E27FC236}">
                  <a16:creationId xmlns:a16="http://schemas.microsoft.com/office/drawing/2014/main" id="{56CFFC89-B25F-4382-8700-84313EEE8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2" y="1287"/>
              <a:ext cx="1096" cy="984"/>
            </a:xfrm>
            <a:custGeom>
              <a:avLst/>
              <a:gdLst>
                <a:gd name="T0" fmla="*/ 396 w 1096"/>
                <a:gd name="T1" fmla="*/ 281 h 984"/>
                <a:gd name="T2" fmla="*/ 412 w 1096"/>
                <a:gd name="T3" fmla="*/ 229 h 984"/>
                <a:gd name="T4" fmla="*/ 420 w 1096"/>
                <a:gd name="T5" fmla="*/ 204 h 984"/>
                <a:gd name="T6" fmla="*/ 451 w 1096"/>
                <a:gd name="T7" fmla="*/ 107 h 984"/>
                <a:gd name="T8" fmla="*/ 448 w 1096"/>
                <a:gd name="T9" fmla="*/ 31 h 984"/>
                <a:gd name="T10" fmla="*/ 473 w 1096"/>
                <a:gd name="T11" fmla="*/ 49 h 984"/>
                <a:gd name="T12" fmla="*/ 606 w 1096"/>
                <a:gd name="T13" fmla="*/ 270 h 984"/>
                <a:gd name="T14" fmla="*/ 737 w 1096"/>
                <a:gd name="T15" fmla="*/ 392 h 984"/>
                <a:gd name="T16" fmla="*/ 788 w 1096"/>
                <a:gd name="T17" fmla="*/ 346 h 984"/>
                <a:gd name="T18" fmla="*/ 823 w 1096"/>
                <a:gd name="T19" fmla="*/ 343 h 984"/>
                <a:gd name="T20" fmla="*/ 864 w 1096"/>
                <a:gd name="T21" fmla="*/ 290 h 984"/>
                <a:gd name="T22" fmla="*/ 873 w 1096"/>
                <a:gd name="T23" fmla="*/ 310 h 984"/>
                <a:gd name="T24" fmla="*/ 922 w 1096"/>
                <a:gd name="T25" fmla="*/ 326 h 984"/>
                <a:gd name="T26" fmla="*/ 947 w 1096"/>
                <a:gd name="T27" fmla="*/ 307 h 984"/>
                <a:gd name="T28" fmla="*/ 978 w 1096"/>
                <a:gd name="T29" fmla="*/ 292 h 984"/>
                <a:gd name="T30" fmla="*/ 1038 w 1096"/>
                <a:gd name="T31" fmla="*/ 304 h 984"/>
                <a:gd name="T32" fmla="*/ 1060 w 1096"/>
                <a:gd name="T33" fmla="*/ 304 h 984"/>
                <a:gd name="T34" fmla="*/ 1060 w 1096"/>
                <a:gd name="T35" fmla="*/ 317 h 984"/>
                <a:gd name="T36" fmla="*/ 1069 w 1096"/>
                <a:gd name="T37" fmla="*/ 332 h 984"/>
                <a:gd name="T38" fmla="*/ 1078 w 1096"/>
                <a:gd name="T39" fmla="*/ 351 h 984"/>
                <a:gd name="T40" fmla="*/ 1091 w 1096"/>
                <a:gd name="T41" fmla="*/ 379 h 984"/>
                <a:gd name="T42" fmla="*/ 1074 w 1096"/>
                <a:gd name="T43" fmla="*/ 437 h 984"/>
                <a:gd name="T44" fmla="*/ 959 w 1096"/>
                <a:gd name="T45" fmla="*/ 375 h 984"/>
                <a:gd name="T46" fmla="*/ 940 w 1096"/>
                <a:gd name="T47" fmla="*/ 434 h 984"/>
                <a:gd name="T48" fmla="*/ 912 w 1096"/>
                <a:gd name="T49" fmla="*/ 472 h 984"/>
                <a:gd name="T50" fmla="*/ 870 w 1096"/>
                <a:gd name="T51" fmla="*/ 497 h 984"/>
                <a:gd name="T52" fmla="*/ 801 w 1096"/>
                <a:gd name="T53" fmla="*/ 536 h 984"/>
                <a:gd name="T54" fmla="*/ 751 w 1096"/>
                <a:gd name="T55" fmla="*/ 636 h 984"/>
                <a:gd name="T56" fmla="*/ 658 w 1096"/>
                <a:gd name="T57" fmla="*/ 619 h 984"/>
                <a:gd name="T58" fmla="*/ 638 w 1096"/>
                <a:gd name="T59" fmla="*/ 680 h 984"/>
                <a:gd name="T60" fmla="*/ 600 w 1096"/>
                <a:gd name="T61" fmla="*/ 743 h 984"/>
                <a:gd name="T62" fmla="*/ 552 w 1096"/>
                <a:gd name="T63" fmla="*/ 801 h 984"/>
                <a:gd name="T64" fmla="*/ 523 w 1096"/>
                <a:gd name="T65" fmla="*/ 854 h 984"/>
                <a:gd name="T66" fmla="*/ 516 w 1096"/>
                <a:gd name="T67" fmla="*/ 892 h 984"/>
                <a:gd name="T68" fmla="*/ 495 w 1096"/>
                <a:gd name="T69" fmla="*/ 920 h 984"/>
                <a:gd name="T70" fmla="*/ 433 w 1096"/>
                <a:gd name="T71" fmla="*/ 934 h 984"/>
                <a:gd name="T72" fmla="*/ 412 w 1096"/>
                <a:gd name="T73" fmla="*/ 926 h 984"/>
                <a:gd name="T74" fmla="*/ 373 w 1096"/>
                <a:gd name="T75" fmla="*/ 959 h 984"/>
                <a:gd name="T76" fmla="*/ 279 w 1096"/>
                <a:gd name="T77" fmla="*/ 955 h 984"/>
                <a:gd name="T78" fmla="*/ 210 w 1096"/>
                <a:gd name="T79" fmla="*/ 975 h 984"/>
                <a:gd name="T80" fmla="*/ 174 w 1096"/>
                <a:gd name="T81" fmla="*/ 951 h 984"/>
                <a:gd name="T82" fmla="*/ 158 w 1096"/>
                <a:gd name="T83" fmla="*/ 900 h 984"/>
                <a:gd name="T84" fmla="*/ 113 w 1096"/>
                <a:gd name="T85" fmla="*/ 887 h 984"/>
                <a:gd name="T86" fmla="*/ 91 w 1096"/>
                <a:gd name="T87" fmla="*/ 859 h 984"/>
                <a:gd name="T88" fmla="*/ 47 w 1096"/>
                <a:gd name="T89" fmla="*/ 792 h 984"/>
                <a:gd name="T90" fmla="*/ 0 w 1096"/>
                <a:gd name="T91" fmla="*/ 719 h 984"/>
                <a:gd name="T92" fmla="*/ 14 w 1096"/>
                <a:gd name="T93" fmla="*/ 679 h 984"/>
                <a:gd name="T94" fmla="*/ 53 w 1096"/>
                <a:gd name="T95" fmla="*/ 638 h 984"/>
                <a:gd name="T96" fmla="*/ 103 w 1096"/>
                <a:gd name="T97" fmla="*/ 593 h 984"/>
                <a:gd name="T98" fmla="*/ 113 w 1096"/>
                <a:gd name="T99" fmla="*/ 506 h 984"/>
                <a:gd name="T100" fmla="*/ 158 w 1096"/>
                <a:gd name="T101" fmla="*/ 480 h 984"/>
                <a:gd name="T102" fmla="*/ 179 w 1096"/>
                <a:gd name="T103" fmla="*/ 495 h 984"/>
                <a:gd name="T104" fmla="*/ 183 w 1096"/>
                <a:gd name="T105" fmla="*/ 456 h 984"/>
                <a:gd name="T106" fmla="*/ 211 w 1096"/>
                <a:gd name="T107" fmla="*/ 414 h 984"/>
                <a:gd name="T108" fmla="*/ 266 w 1096"/>
                <a:gd name="T109" fmla="*/ 359 h 984"/>
                <a:gd name="T110" fmla="*/ 323 w 1096"/>
                <a:gd name="T111" fmla="*/ 356 h 9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96" h="984">
                  <a:moveTo>
                    <a:pt x="359" y="320"/>
                  </a:moveTo>
                  <a:lnTo>
                    <a:pt x="370" y="309"/>
                  </a:lnTo>
                  <a:lnTo>
                    <a:pt x="382" y="301"/>
                  </a:lnTo>
                  <a:lnTo>
                    <a:pt x="385" y="301"/>
                  </a:lnTo>
                  <a:lnTo>
                    <a:pt x="393" y="296"/>
                  </a:lnTo>
                  <a:lnTo>
                    <a:pt x="395" y="287"/>
                  </a:lnTo>
                  <a:lnTo>
                    <a:pt x="396" y="281"/>
                  </a:lnTo>
                  <a:lnTo>
                    <a:pt x="404" y="273"/>
                  </a:lnTo>
                  <a:lnTo>
                    <a:pt x="404" y="270"/>
                  </a:lnTo>
                  <a:lnTo>
                    <a:pt x="400" y="263"/>
                  </a:lnTo>
                  <a:lnTo>
                    <a:pt x="395" y="259"/>
                  </a:lnTo>
                  <a:lnTo>
                    <a:pt x="406" y="243"/>
                  </a:lnTo>
                  <a:lnTo>
                    <a:pt x="406" y="234"/>
                  </a:lnTo>
                  <a:lnTo>
                    <a:pt x="412" y="229"/>
                  </a:lnTo>
                  <a:lnTo>
                    <a:pt x="414" y="224"/>
                  </a:lnTo>
                  <a:lnTo>
                    <a:pt x="409" y="215"/>
                  </a:lnTo>
                  <a:lnTo>
                    <a:pt x="411" y="213"/>
                  </a:lnTo>
                  <a:lnTo>
                    <a:pt x="412" y="210"/>
                  </a:lnTo>
                  <a:lnTo>
                    <a:pt x="418" y="213"/>
                  </a:lnTo>
                  <a:lnTo>
                    <a:pt x="420" y="210"/>
                  </a:lnTo>
                  <a:lnTo>
                    <a:pt x="420" y="204"/>
                  </a:lnTo>
                  <a:lnTo>
                    <a:pt x="426" y="191"/>
                  </a:lnTo>
                  <a:lnTo>
                    <a:pt x="426" y="177"/>
                  </a:lnTo>
                  <a:lnTo>
                    <a:pt x="433" y="143"/>
                  </a:lnTo>
                  <a:lnTo>
                    <a:pt x="433" y="138"/>
                  </a:lnTo>
                  <a:lnTo>
                    <a:pt x="439" y="132"/>
                  </a:lnTo>
                  <a:lnTo>
                    <a:pt x="445" y="116"/>
                  </a:lnTo>
                  <a:lnTo>
                    <a:pt x="451" y="107"/>
                  </a:lnTo>
                  <a:lnTo>
                    <a:pt x="456" y="99"/>
                  </a:lnTo>
                  <a:lnTo>
                    <a:pt x="454" y="78"/>
                  </a:lnTo>
                  <a:lnTo>
                    <a:pt x="450" y="74"/>
                  </a:lnTo>
                  <a:lnTo>
                    <a:pt x="450" y="71"/>
                  </a:lnTo>
                  <a:lnTo>
                    <a:pt x="456" y="49"/>
                  </a:lnTo>
                  <a:lnTo>
                    <a:pt x="450" y="41"/>
                  </a:lnTo>
                  <a:lnTo>
                    <a:pt x="448" y="31"/>
                  </a:lnTo>
                  <a:lnTo>
                    <a:pt x="440" y="22"/>
                  </a:lnTo>
                  <a:lnTo>
                    <a:pt x="440" y="17"/>
                  </a:lnTo>
                  <a:lnTo>
                    <a:pt x="448" y="8"/>
                  </a:lnTo>
                  <a:lnTo>
                    <a:pt x="454" y="6"/>
                  </a:lnTo>
                  <a:lnTo>
                    <a:pt x="461" y="8"/>
                  </a:lnTo>
                  <a:lnTo>
                    <a:pt x="473" y="0"/>
                  </a:lnTo>
                  <a:lnTo>
                    <a:pt x="473" y="49"/>
                  </a:lnTo>
                  <a:lnTo>
                    <a:pt x="473" y="71"/>
                  </a:lnTo>
                  <a:lnTo>
                    <a:pt x="473" y="141"/>
                  </a:lnTo>
                  <a:lnTo>
                    <a:pt x="473" y="180"/>
                  </a:lnTo>
                  <a:lnTo>
                    <a:pt x="473" y="199"/>
                  </a:lnTo>
                  <a:lnTo>
                    <a:pt x="473" y="270"/>
                  </a:lnTo>
                  <a:lnTo>
                    <a:pt x="494" y="270"/>
                  </a:lnTo>
                  <a:lnTo>
                    <a:pt x="606" y="270"/>
                  </a:lnTo>
                  <a:lnTo>
                    <a:pt x="641" y="270"/>
                  </a:lnTo>
                  <a:lnTo>
                    <a:pt x="705" y="270"/>
                  </a:lnTo>
                  <a:lnTo>
                    <a:pt x="704" y="419"/>
                  </a:lnTo>
                  <a:lnTo>
                    <a:pt x="710" y="415"/>
                  </a:lnTo>
                  <a:lnTo>
                    <a:pt x="713" y="415"/>
                  </a:lnTo>
                  <a:lnTo>
                    <a:pt x="727" y="400"/>
                  </a:lnTo>
                  <a:lnTo>
                    <a:pt x="737" y="392"/>
                  </a:lnTo>
                  <a:lnTo>
                    <a:pt x="748" y="390"/>
                  </a:lnTo>
                  <a:lnTo>
                    <a:pt x="751" y="382"/>
                  </a:lnTo>
                  <a:lnTo>
                    <a:pt x="755" y="375"/>
                  </a:lnTo>
                  <a:lnTo>
                    <a:pt x="776" y="364"/>
                  </a:lnTo>
                  <a:lnTo>
                    <a:pt x="777" y="359"/>
                  </a:lnTo>
                  <a:lnTo>
                    <a:pt x="784" y="356"/>
                  </a:lnTo>
                  <a:lnTo>
                    <a:pt x="788" y="346"/>
                  </a:lnTo>
                  <a:lnTo>
                    <a:pt x="791" y="343"/>
                  </a:lnTo>
                  <a:lnTo>
                    <a:pt x="788" y="342"/>
                  </a:lnTo>
                  <a:lnTo>
                    <a:pt x="796" y="342"/>
                  </a:lnTo>
                  <a:lnTo>
                    <a:pt x="798" y="337"/>
                  </a:lnTo>
                  <a:lnTo>
                    <a:pt x="802" y="337"/>
                  </a:lnTo>
                  <a:lnTo>
                    <a:pt x="820" y="351"/>
                  </a:lnTo>
                  <a:lnTo>
                    <a:pt x="823" y="343"/>
                  </a:lnTo>
                  <a:lnTo>
                    <a:pt x="842" y="324"/>
                  </a:lnTo>
                  <a:lnTo>
                    <a:pt x="849" y="315"/>
                  </a:lnTo>
                  <a:lnTo>
                    <a:pt x="856" y="314"/>
                  </a:lnTo>
                  <a:lnTo>
                    <a:pt x="851" y="307"/>
                  </a:lnTo>
                  <a:lnTo>
                    <a:pt x="857" y="299"/>
                  </a:lnTo>
                  <a:lnTo>
                    <a:pt x="857" y="295"/>
                  </a:lnTo>
                  <a:lnTo>
                    <a:pt x="864" y="290"/>
                  </a:lnTo>
                  <a:lnTo>
                    <a:pt x="865" y="296"/>
                  </a:lnTo>
                  <a:lnTo>
                    <a:pt x="873" y="296"/>
                  </a:lnTo>
                  <a:lnTo>
                    <a:pt x="873" y="298"/>
                  </a:lnTo>
                  <a:lnTo>
                    <a:pt x="873" y="301"/>
                  </a:lnTo>
                  <a:lnTo>
                    <a:pt x="864" y="304"/>
                  </a:lnTo>
                  <a:lnTo>
                    <a:pt x="867" y="309"/>
                  </a:lnTo>
                  <a:lnTo>
                    <a:pt x="873" y="310"/>
                  </a:lnTo>
                  <a:lnTo>
                    <a:pt x="876" y="315"/>
                  </a:lnTo>
                  <a:lnTo>
                    <a:pt x="887" y="323"/>
                  </a:lnTo>
                  <a:lnTo>
                    <a:pt x="892" y="323"/>
                  </a:lnTo>
                  <a:lnTo>
                    <a:pt x="893" y="324"/>
                  </a:lnTo>
                  <a:lnTo>
                    <a:pt x="901" y="323"/>
                  </a:lnTo>
                  <a:lnTo>
                    <a:pt x="911" y="326"/>
                  </a:lnTo>
                  <a:lnTo>
                    <a:pt x="922" y="326"/>
                  </a:lnTo>
                  <a:lnTo>
                    <a:pt x="929" y="326"/>
                  </a:lnTo>
                  <a:lnTo>
                    <a:pt x="934" y="323"/>
                  </a:lnTo>
                  <a:lnTo>
                    <a:pt x="937" y="318"/>
                  </a:lnTo>
                  <a:lnTo>
                    <a:pt x="942" y="318"/>
                  </a:lnTo>
                  <a:lnTo>
                    <a:pt x="933" y="309"/>
                  </a:lnTo>
                  <a:lnTo>
                    <a:pt x="934" y="306"/>
                  </a:lnTo>
                  <a:lnTo>
                    <a:pt x="947" y="307"/>
                  </a:lnTo>
                  <a:lnTo>
                    <a:pt x="939" y="298"/>
                  </a:lnTo>
                  <a:lnTo>
                    <a:pt x="950" y="299"/>
                  </a:lnTo>
                  <a:lnTo>
                    <a:pt x="951" y="295"/>
                  </a:lnTo>
                  <a:lnTo>
                    <a:pt x="956" y="295"/>
                  </a:lnTo>
                  <a:lnTo>
                    <a:pt x="958" y="292"/>
                  </a:lnTo>
                  <a:lnTo>
                    <a:pt x="975" y="298"/>
                  </a:lnTo>
                  <a:lnTo>
                    <a:pt x="978" y="292"/>
                  </a:lnTo>
                  <a:lnTo>
                    <a:pt x="984" y="287"/>
                  </a:lnTo>
                  <a:lnTo>
                    <a:pt x="984" y="282"/>
                  </a:lnTo>
                  <a:lnTo>
                    <a:pt x="989" y="282"/>
                  </a:lnTo>
                  <a:lnTo>
                    <a:pt x="995" y="277"/>
                  </a:lnTo>
                  <a:lnTo>
                    <a:pt x="1014" y="282"/>
                  </a:lnTo>
                  <a:lnTo>
                    <a:pt x="1030" y="298"/>
                  </a:lnTo>
                  <a:lnTo>
                    <a:pt x="1038" y="304"/>
                  </a:lnTo>
                  <a:lnTo>
                    <a:pt x="1042" y="299"/>
                  </a:lnTo>
                  <a:lnTo>
                    <a:pt x="1049" y="307"/>
                  </a:lnTo>
                  <a:lnTo>
                    <a:pt x="1050" y="306"/>
                  </a:lnTo>
                  <a:lnTo>
                    <a:pt x="1047" y="299"/>
                  </a:lnTo>
                  <a:lnTo>
                    <a:pt x="1049" y="298"/>
                  </a:lnTo>
                  <a:lnTo>
                    <a:pt x="1058" y="306"/>
                  </a:lnTo>
                  <a:lnTo>
                    <a:pt x="1060" y="304"/>
                  </a:lnTo>
                  <a:lnTo>
                    <a:pt x="1060" y="299"/>
                  </a:lnTo>
                  <a:lnTo>
                    <a:pt x="1067" y="304"/>
                  </a:lnTo>
                  <a:lnTo>
                    <a:pt x="1070" y="301"/>
                  </a:lnTo>
                  <a:lnTo>
                    <a:pt x="1070" y="310"/>
                  </a:lnTo>
                  <a:lnTo>
                    <a:pt x="1069" y="314"/>
                  </a:lnTo>
                  <a:lnTo>
                    <a:pt x="1061" y="315"/>
                  </a:lnTo>
                  <a:lnTo>
                    <a:pt x="1060" y="317"/>
                  </a:lnTo>
                  <a:lnTo>
                    <a:pt x="1066" y="318"/>
                  </a:lnTo>
                  <a:lnTo>
                    <a:pt x="1066" y="328"/>
                  </a:lnTo>
                  <a:lnTo>
                    <a:pt x="1070" y="324"/>
                  </a:lnTo>
                  <a:lnTo>
                    <a:pt x="1074" y="326"/>
                  </a:lnTo>
                  <a:lnTo>
                    <a:pt x="1074" y="324"/>
                  </a:lnTo>
                  <a:lnTo>
                    <a:pt x="1075" y="329"/>
                  </a:lnTo>
                  <a:lnTo>
                    <a:pt x="1069" y="332"/>
                  </a:lnTo>
                  <a:lnTo>
                    <a:pt x="1075" y="334"/>
                  </a:lnTo>
                  <a:lnTo>
                    <a:pt x="1086" y="334"/>
                  </a:lnTo>
                  <a:lnTo>
                    <a:pt x="1080" y="337"/>
                  </a:lnTo>
                  <a:lnTo>
                    <a:pt x="1085" y="345"/>
                  </a:lnTo>
                  <a:lnTo>
                    <a:pt x="1078" y="343"/>
                  </a:lnTo>
                  <a:lnTo>
                    <a:pt x="1080" y="346"/>
                  </a:lnTo>
                  <a:lnTo>
                    <a:pt x="1078" y="351"/>
                  </a:lnTo>
                  <a:lnTo>
                    <a:pt x="1080" y="353"/>
                  </a:lnTo>
                  <a:lnTo>
                    <a:pt x="1091" y="354"/>
                  </a:lnTo>
                  <a:lnTo>
                    <a:pt x="1094" y="361"/>
                  </a:lnTo>
                  <a:lnTo>
                    <a:pt x="1094" y="362"/>
                  </a:lnTo>
                  <a:lnTo>
                    <a:pt x="1091" y="368"/>
                  </a:lnTo>
                  <a:lnTo>
                    <a:pt x="1092" y="373"/>
                  </a:lnTo>
                  <a:lnTo>
                    <a:pt x="1091" y="379"/>
                  </a:lnTo>
                  <a:lnTo>
                    <a:pt x="1092" y="382"/>
                  </a:lnTo>
                  <a:lnTo>
                    <a:pt x="1096" y="386"/>
                  </a:lnTo>
                  <a:lnTo>
                    <a:pt x="1091" y="395"/>
                  </a:lnTo>
                  <a:lnTo>
                    <a:pt x="1088" y="406"/>
                  </a:lnTo>
                  <a:lnTo>
                    <a:pt x="1078" y="420"/>
                  </a:lnTo>
                  <a:lnTo>
                    <a:pt x="1075" y="436"/>
                  </a:lnTo>
                  <a:lnTo>
                    <a:pt x="1074" y="437"/>
                  </a:lnTo>
                  <a:lnTo>
                    <a:pt x="1028" y="400"/>
                  </a:lnTo>
                  <a:lnTo>
                    <a:pt x="984" y="364"/>
                  </a:lnTo>
                  <a:lnTo>
                    <a:pt x="975" y="354"/>
                  </a:lnTo>
                  <a:lnTo>
                    <a:pt x="958" y="345"/>
                  </a:lnTo>
                  <a:lnTo>
                    <a:pt x="958" y="368"/>
                  </a:lnTo>
                  <a:lnTo>
                    <a:pt x="954" y="373"/>
                  </a:lnTo>
                  <a:lnTo>
                    <a:pt x="959" y="375"/>
                  </a:lnTo>
                  <a:lnTo>
                    <a:pt x="959" y="379"/>
                  </a:lnTo>
                  <a:lnTo>
                    <a:pt x="944" y="401"/>
                  </a:lnTo>
                  <a:lnTo>
                    <a:pt x="947" y="406"/>
                  </a:lnTo>
                  <a:lnTo>
                    <a:pt x="940" y="415"/>
                  </a:lnTo>
                  <a:lnTo>
                    <a:pt x="940" y="419"/>
                  </a:lnTo>
                  <a:lnTo>
                    <a:pt x="947" y="428"/>
                  </a:lnTo>
                  <a:lnTo>
                    <a:pt x="940" y="434"/>
                  </a:lnTo>
                  <a:lnTo>
                    <a:pt x="937" y="442"/>
                  </a:lnTo>
                  <a:lnTo>
                    <a:pt x="928" y="444"/>
                  </a:lnTo>
                  <a:lnTo>
                    <a:pt x="923" y="450"/>
                  </a:lnTo>
                  <a:lnTo>
                    <a:pt x="915" y="461"/>
                  </a:lnTo>
                  <a:lnTo>
                    <a:pt x="911" y="466"/>
                  </a:lnTo>
                  <a:lnTo>
                    <a:pt x="914" y="470"/>
                  </a:lnTo>
                  <a:lnTo>
                    <a:pt x="912" y="472"/>
                  </a:lnTo>
                  <a:lnTo>
                    <a:pt x="903" y="486"/>
                  </a:lnTo>
                  <a:lnTo>
                    <a:pt x="895" y="483"/>
                  </a:lnTo>
                  <a:lnTo>
                    <a:pt x="892" y="491"/>
                  </a:lnTo>
                  <a:lnTo>
                    <a:pt x="884" y="498"/>
                  </a:lnTo>
                  <a:lnTo>
                    <a:pt x="876" y="505"/>
                  </a:lnTo>
                  <a:lnTo>
                    <a:pt x="875" y="497"/>
                  </a:lnTo>
                  <a:lnTo>
                    <a:pt x="870" y="497"/>
                  </a:lnTo>
                  <a:lnTo>
                    <a:pt x="868" y="502"/>
                  </a:lnTo>
                  <a:lnTo>
                    <a:pt x="859" y="511"/>
                  </a:lnTo>
                  <a:lnTo>
                    <a:pt x="854" y="525"/>
                  </a:lnTo>
                  <a:lnTo>
                    <a:pt x="842" y="544"/>
                  </a:lnTo>
                  <a:lnTo>
                    <a:pt x="815" y="522"/>
                  </a:lnTo>
                  <a:lnTo>
                    <a:pt x="806" y="535"/>
                  </a:lnTo>
                  <a:lnTo>
                    <a:pt x="801" y="536"/>
                  </a:lnTo>
                  <a:lnTo>
                    <a:pt x="801" y="544"/>
                  </a:lnTo>
                  <a:lnTo>
                    <a:pt x="793" y="561"/>
                  </a:lnTo>
                  <a:lnTo>
                    <a:pt x="793" y="574"/>
                  </a:lnTo>
                  <a:lnTo>
                    <a:pt x="785" y="572"/>
                  </a:lnTo>
                  <a:lnTo>
                    <a:pt x="785" y="574"/>
                  </a:lnTo>
                  <a:lnTo>
                    <a:pt x="760" y="625"/>
                  </a:lnTo>
                  <a:lnTo>
                    <a:pt x="751" y="636"/>
                  </a:lnTo>
                  <a:lnTo>
                    <a:pt x="741" y="644"/>
                  </a:lnTo>
                  <a:lnTo>
                    <a:pt x="704" y="632"/>
                  </a:lnTo>
                  <a:lnTo>
                    <a:pt x="693" y="605"/>
                  </a:lnTo>
                  <a:lnTo>
                    <a:pt x="669" y="593"/>
                  </a:lnTo>
                  <a:lnTo>
                    <a:pt x="664" y="605"/>
                  </a:lnTo>
                  <a:lnTo>
                    <a:pt x="664" y="614"/>
                  </a:lnTo>
                  <a:lnTo>
                    <a:pt x="658" y="619"/>
                  </a:lnTo>
                  <a:lnTo>
                    <a:pt x="660" y="638"/>
                  </a:lnTo>
                  <a:lnTo>
                    <a:pt x="652" y="651"/>
                  </a:lnTo>
                  <a:lnTo>
                    <a:pt x="649" y="661"/>
                  </a:lnTo>
                  <a:lnTo>
                    <a:pt x="643" y="661"/>
                  </a:lnTo>
                  <a:lnTo>
                    <a:pt x="633" y="672"/>
                  </a:lnTo>
                  <a:lnTo>
                    <a:pt x="633" y="677"/>
                  </a:lnTo>
                  <a:lnTo>
                    <a:pt x="638" y="680"/>
                  </a:lnTo>
                  <a:lnTo>
                    <a:pt x="636" y="687"/>
                  </a:lnTo>
                  <a:lnTo>
                    <a:pt x="628" y="690"/>
                  </a:lnTo>
                  <a:lnTo>
                    <a:pt x="610" y="710"/>
                  </a:lnTo>
                  <a:lnTo>
                    <a:pt x="610" y="716"/>
                  </a:lnTo>
                  <a:lnTo>
                    <a:pt x="603" y="727"/>
                  </a:lnTo>
                  <a:lnTo>
                    <a:pt x="605" y="732"/>
                  </a:lnTo>
                  <a:lnTo>
                    <a:pt x="600" y="743"/>
                  </a:lnTo>
                  <a:lnTo>
                    <a:pt x="597" y="751"/>
                  </a:lnTo>
                  <a:lnTo>
                    <a:pt x="591" y="763"/>
                  </a:lnTo>
                  <a:lnTo>
                    <a:pt x="577" y="773"/>
                  </a:lnTo>
                  <a:lnTo>
                    <a:pt x="566" y="787"/>
                  </a:lnTo>
                  <a:lnTo>
                    <a:pt x="564" y="792"/>
                  </a:lnTo>
                  <a:lnTo>
                    <a:pt x="555" y="796"/>
                  </a:lnTo>
                  <a:lnTo>
                    <a:pt x="552" y="801"/>
                  </a:lnTo>
                  <a:lnTo>
                    <a:pt x="552" y="806"/>
                  </a:lnTo>
                  <a:lnTo>
                    <a:pt x="539" y="817"/>
                  </a:lnTo>
                  <a:lnTo>
                    <a:pt x="541" y="825"/>
                  </a:lnTo>
                  <a:lnTo>
                    <a:pt x="533" y="829"/>
                  </a:lnTo>
                  <a:lnTo>
                    <a:pt x="533" y="839"/>
                  </a:lnTo>
                  <a:lnTo>
                    <a:pt x="522" y="851"/>
                  </a:lnTo>
                  <a:lnTo>
                    <a:pt x="523" y="854"/>
                  </a:lnTo>
                  <a:lnTo>
                    <a:pt x="522" y="861"/>
                  </a:lnTo>
                  <a:lnTo>
                    <a:pt x="522" y="862"/>
                  </a:lnTo>
                  <a:lnTo>
                    <a:pt x="533" y="862"/>
                  </a:lnTo>
                  <a:lnTo>
                    <a:pt x="541" y="868"/>
                  </a:lnTo>
                  <a:lnTo>
                    <a:pt x="536" y="875"/>
                  </a:lnTo>
                  <a:lnTo>
                    <a:pt x="520" y="883"/>
                  </a:lnTo>
                  <a:lnTo>
                    <a:pt x="516" y="892"/>
                  </a:lnTo>
                  <a:lnTo>
                    <a:pt x="522" y="893"/>
                  </a:lnTo>
                  <a:lnTo>
                    <a:pt x="528" y="892"/>
                  </a:lnTo>
                  <a:lnTo>
                    <a:pt x="527" y="900"/>
                  </a:lnTo>
                  <a:lnTo>
                    <a:pt x="512" y="906"/>
                  </a:lnTo>
                  <a:lnTo>
                    <a:pt x="511" y="909"/>
                  </a:lnTo>
                  <a:lnTo>
                    <a:pt x="503" y="911"/>
                  </a:lnTo>
                  <a:lnTo>
                    <a:pt x="495" y="920"/>
                  </a:lnTo>
                  <a:lnTo>
                    <a:pt x="484" y="925"/>
                  </a:lnTo>
                  <a:lnTo>
                    <a:pt x="483" y="920"/>
                  </a:lnTo>
                  <a:lnTo>
                    <a:pt x="481" y="914"/>
                  </a:lnTo>
                  <a:lnTo>
                    <a:pt x="476" y="909"/>
                  </a:lnTo>
                  <a:lnTo>
                    <a:pt x="469" y="911"/>
                  </a:lnTo>
                  <a:lnTo>
                    <a:pt x="456" y="917"/>
                  </a:lnTo>
                  <a:lnTo>
                    <a:pt x="433" y="934"/>
                  </a:lnTo>
                  <a:lnTo>
                    <a:pt x="428" y="933"/>
                  </a:lnTo>
                  <a:lnTo>
                    <a:pt x="423" y="934"/>
                  </a:lnTo>
                  <a:lnTo>
                    <a:pt x="423" y="936"/>
                  </a:lnTo>
                  <a:lnTo>
                    <a:pt x="420" y="937"/>
                  </a:lnTo>
                  <a:lnTo>
                    <a:pt x="418" y="934"/>
                  </a:lnTo>
                  <a:lnTo>
                    <a:pt x="412" y="933"/>
                  </a:lnTo>
                  <a:lnTo>
                    <a:pt x="412" y="926"/>
                  </a:lnTo>
                  <a:lnTo>
                    <a:pt x="401" y="925"/>
                  </a:lnTo>
                  <a:lnTo>
                    <a:pt x="395" y="934"/>
                  </a:lnTo>
                  <a:lnTo>
                    <a:pt x="401" y="944"/>
                  </a:lnTo>
                  <a:lnTo>
                    <a:pt x="400" y="947"/>
                  </a:lnTo>
                  <a:lnTo>
                    <a:pt x="382" y="959"/>
                  </a:lnTo>
                  <a:lnTo>
                    <a:pt x="375" y="961"/>
                  </a:lnTo>
                  <a:lnTo>
                    <a:pt x="373" y="959"/>
                  </a:lnTo>
                  <a:lnTo>
                    <a:pt x="370" y="956"/>
                  </a:lnTo>
                  <a:lnTo>
                    <a:pt x="360" y="962"/>
                  </a:lnTo>
                  <a:lnTo>
                    <a:pt x="337" y="966"/>
                  </a:lnTo>
                  <a:lnTo>
                    <a:pt x="318" y="975"/>
                  </a:lnTo>
                  <a:lnTo>
                    <a:pt x="296" y="961"/>
                  </a:lnTo>
                  <a:lnTo>
                    <a:pt x="287" y="947"/>
                  </a:lnTo>
                  <a:lnTo>
                    <a:pt x="279" y="955"/>
                  </a:lnTo>
                  <a:lnTo>
                    <a:pt x="277" y="964"/>
                  </a:lnTo>
                  <a:lnTo>
                    <a:pt x="260" y="972"/>
                  </a:lnTo>
                  <a:lnTo>
                    <a:pt x="257" y="972"/>
                  </a:lnTo>
                  <a:lnTo>
                    <a:pt x="255" y="978"/>
                  </a:lnTo>
                  <a:lnTo>
                    <a:pt x="244" y="984"/>
                  </a:lnTo>
                  <a:lnTo>
                    <a:pt x="219" y="984"/>
                  </a:lnTo>
                  <a:lnTo>
                    <a:pt x="210" y="975"/>
                  </a:lnTo>
                  <a:lnTo>
                    <a:pt x="202" y="972"/>
                  </a:lnTo>
                  <a:lnTo>
                    <a:pt x="201" y="966"/>
                  </a:lnTo>
                  <a:lnTo>
                    <a:pt x="191" y="962"/>
                  </a:lnTo>
                  <a:lnTo>
                    <a:pt x="185" y="964"/>
                  </a:lnTo>
                  <a:lnTo>
                    <a:pt x="179" y="962"/>
                  </a:lnTo>
                  <a:lnTo>
                    <a:pt x="175" y="956"/>
                  </a:lnTo>
                  <a:lnTo>
                    <a:pt x="174" y="951"/>
                  </a:lnTo>
                  <a:lnTo>
                    <a:pt x="166" y="947"/>
                  </a:lnTo>
                  <a:lnTo>
                    <a:pt x="160" y="937"/>
                  </a:lnTo>
                  <a:lnTo>
                    <a:pt x="163" y="926"/>
                  </a:lnTo>
                  <a:lnTo>
                    <a:pt x="147" y="911"/>
                  </a:lnTo>
                  <a:lnTo>
                    <a:pt x="149" y="908"/>
                  </a:lnTo>
                  <a:lnTo>
                    <a:pt x="155" y="904"/>
                  </a:lnTo>
                  <a:lnTo>
                    <a:pt x="158" y="900"/>
                  </a:lnTo>
                  <a:lnTo>
                    <a:pt x="153" y="893"/>
                  </a:lnTo>
                  <a:lnTo>
                    <a:pt x="149" y="890"/>
                  </a:lnTo>
                  <a:lnTo>
                    <a:pt x="138" y="893"/>
                  </a:lnTo>
                  <a:lnTo>
                    <a:pt x="133" y="889"/>
                  </a:lnTo>
                  <a:lnTo>
                    <a:pt x="132" y="897"/>
                  </a:lnTo>
                  <a:lnTo>
                    <a:pt x="124" y="889"/>
                  </a:lnTo>
                  <a:lnTo>
                    <a:pt x="113" y="887"/>
                  </a:lnTo>
                  <a:lnTo>
                    <a:pt x="111" y="884"/>
                  </a:lnTo>
                  <a:lnTo>
                    <a:pt x="113" y="883"/>
                  </a:lnTo>
                  <a:lnTo>
                    <a:pt x="114" y="878"/>
                  </a:lnTo>
                  <a:lnTo>
                    <a:pt x="110" y="875"/>
                  </a:lnTo>
                  <a:lnTo>
                    <a:pt x="103" y="862"/>
                  </a:lnTo>
                  <a:lnTo>
                    <a:pt x="99" y="868"/>
                  </a:lnTo>
                  <a:lnTo>
                    <a:pt x="91" y="859"/>
                  </a:lnTo>
                  <a:lnTo>
                    <a:pt x="78" y="854"/>
                  </a:lnTo>
                  <a:lnTo>
                    <a:pt x="72" y="834"/>
                  </a:lnTo>
                  <a:lnTo>
                    <a:pt x="74" y="829"/>
                  </a:lnTo>
                  <a:lnTo>
                    <a:pt x="67" y="823"/>
                  </a:lnTo>
                  <a:lnTo>
                    <a:pt x="55" y="815"/>
                  </a:lnTo>
                  <a:lnTo>
                    <a:pt x="50" y="798"/>
                  </a:lnTo>
                  <a:lnTo>
                    <a:pt x="47" y="792"/>
                  </a:lnTo>
                  <a:lnTo>
                    <a:pt x="31" y="782"/>
                  </a:lnTo>
                  <a:lnTo>
                    <a:pt x="33" y="777"/>
                  </a:lnTo>
                  <a:lnTo>
                    <a:pt x="37" y="774"/>
                  </a:lnTo>
                  <a:lnTo>
                    <a:pt x="37" y="768"/>
                  </a:lnTo>
                  <a:lnTo>
                    <a:pt x="28" y="759"/>
                  </a:lnTo>
                  <a:lnTo>
                    <a:pt x="12" y="729"/>
                  </a:lnTo>
                  <a:lnTo>
                    <a:pt x="0" y="719"/>
                  </a:lnTo>
                  <a:lnTo>
                    <a:pt x="0" y="715"/>
                  </a:lnTo>
                  <a:lnTo>
                    <a:pt x="8" y="710"/>
                  </a:lnTo>
                  <a:lnTo>
                    <a:pt x="9" y="707"/>
                  </a:lnTo>
                  <a:lnTo>
                    <a:pt x="8" y="693"/>
                  </a:lnTo>
                  <a:lnTo>
                    <a:pt x="12" y="691"/>
                  </a:lnTo>
                  <a:lnTo>
                    <a:pt x="17" y="690"/>
                  </a:lnTo>
                  <a:lnTo>
                    <a:pt x="14" y="679"/>
                  </a:lnTo>
                  <a:lnTo>
                    <a:pt x="17" y="674"/>
                  </a:lnTo>
                  <a:lnTo>
                    <a:pt x="11" y="657"/>
                  </a:lnTo>
                  <a:lnTo>
                    <a:pt x="12" y="644"/>
                  </a:lnTo>
                  <a:lnTo>
                    <a:pt x="17" y="646"/>
                  </a:lnTo>
                  <a:lnTo>
                    <a:pt x="22" y="647"/>
                  </a:lnTo>
                  <a:lnTo>
                    <a:pt x="33" y="646"/>
                  </a:lnTo>
                  <a:lnTo>
                    <a:pt x="53" y="638"/>
                  </a:lnTo>
                  <a:lnTo>
                    <a:pt x="56" y="641"/>
                  </a:lnTo>
                  <a:lnTo>
                    <a:pt x="72" y="636"/>
                  </a:lnTo>
                  <a:lnTo>
                    <a:pt x="74" y="629"/>
                  </a:lnTo>
                  <a:lnTo>
                    <a:pt x="78" y="597"/>
                  </a:lnTo>
                  <a:lnTo>
                    <a:pt x="83" y="593"/>
                  </a:lnTo>
                  <a:lnTo>
                    <a:pt x="95" y="596"/>
                  </a:lnTo>
                  <a:lnTo>
                    <a:pt x="103" y="593"/>
                  </a:lnTo>
                  <a:lnTo>
                    <a:pt x="105" y="582"/>
                  </a:lnTo>
                  <a:lnTo>
                    <a:pt x="102" y="569"/>
                  </a:lnTo>
                  <a:lnTo>
                    <a:pt x="103" y="560"/>
                  </a:lnTo>
                  <a:lnTo>
                    <a:pt x="95" y="541"/>
                  </a:lnTo>
                  <a:lnTo>
                    <a:pt x="100" y="533"/>
                  </a:lnTo>
                  <a:lnTo>
                    <a:pt x="111" y="524"/>
                  </a:lnTo>
                  <a:lnTo>
                    <a:pt x="113" y="506"/>
                  </a:lnTo>
                  <a:lnTo>
                    <a:pt x="121" y="491"/>
                  </a:lnTo>
                  <a:lnTo>
                    <a:pt x="124" y="483"/>
                  </a:lnTo>
                  <a:lnTo>
                    <a:pt x="130" y="480"/>
                  </a:lnTo>
                  <a:lnTo>
                    <a:pt x="133" y="472"/>
                  </a:lnTo>
                  <a:lnTo>
                    <a:pt x="144" y="472"/>
                  </a:lnTo>
                  <a:lnTo>
                    <a:pt x="149" y="478"/>
                  </a:lnTo>
                  <a:lnTo>
                    <a:pt x="158" y="480"/>
                  </a:lnTo>
                  <a:lnTo>
                    <a:pt x="160" y="481"/>
                  </a:lnTo>
                  <a:lnTo>
                    <a:pt x="166" y="497"/>
                  </a:lnTo>
                  <a:lnTo>
                    <a:pt x="158" y="506"/>
                  </a:lnTo>
                  <a:lnTo>
                    <a:pt x="163" y="509"/>
                  </a:lnTo>
                  <a:lnTo>
                    <a:pt x="168" y="514"/>
                  </a:lnTo>
                  <a:lnTo>
                    <a:pt x="174" y="509"/>
                  </a:lnTo>
                  <a:lnTo>
                    <a:pt x="179" y="495"/>
                  </a:lnTo>
                  <a:lnTo>
                    <a:pt x="183" y="491"/>
                  </a:lnTo>
                  <a:lnTo>
                    <a:pt x="193" y="498"/>
                  </a:lnTo>
                  <a:lnTo>
                    <a:pt x="196" y="497"/>
                  </a:lnTo>
                  <a:lnTo>
                    <a:pt x="193" y="486"/>
                  </a:lnTo>
                  <a:lnTo>
                    <a:pt x="194" y="472"/>
                  </a:lnTo>
                  <a:lnTo>
                    <a:pt x="185" y="464"/>
                  </a:lnTo>
                  <a:lnTo>
                    <a:pt x="183" y="456"/>
                  </a:lnTo>
                  <a:lnTo>
                    <a:pt x="185" y="455"/>
                  </a:lnTo>
                  <a:lnTo>
                    <a:pt x="193" y="455"/>
                  </a:lnTo>
                  <a:lnTo>
                    <a:pt x="199" y="450"/>
                  </a:lnTo>
                  <a:lnTo>
                    <a:pt x="201" y="440"/>
                  </a:lnTo>
                  <a:lnTo>
                    <a:pt x="199" y="426"/>
                  </a:lnTo>
                  <a:lnTo>
                    <a:pt x="205" y="415"/>
                  </a:lnTo>
                  <a:lnTo>
                    <a:pt x="211" y="414"/>
                  </a:lnTo>
                  <a:lnTo>
                    <a:pt x="213" y="401"/>
                  </a:lnTo>
                  <a:lnTo>
                    <a:pt x="219" y="398"/>
                  </a:lnTo>
                  <a:lnTo>
                    <a:pt x="240" y="400"/>
                  </a:lnTo>
                  <a:lnTo>
                    <a:pt x="241" y="381"/>
                  </a:lnTo>
                  <a:lnTo>
                    <a:pt x="246" y="375"/>
                  </a:lnTo>
                  <a:lnTo>
                    <a:pt x="263" y="361"/>
                  </a:lnTo>
                  <a:lnTo>
                    <a:pt x="266" y="359"/>
                  </a:lnTo>
                  <a:lnTo>
                    <a:pt x="269" y="361"/>
                  </a:lnTo>
                  <a:lnTo>
                    <a:pt x="284" y="378"/>
                  </a:lnTo>
                  <a:lnTo>
                    <a:pt x="291" y="375"/>
                  </a:lnTo>
                  <a:lnTo>
                    <a:pt x="304" y="365"/>
                  </a:lnTo>
                  <a:lnTo>
                    <a:pt x="313" y="364"/>
                  </a:lnTo>
                  <a:lnTo>
                    <a:pt x="318" y="359"/>
                  </a:lnTo>
                  <a:lnTo>
                    <a:pt x="323" y="356"/>
                  </a:lnTo>
                  <a:lnTo>
                    <a:pt x="327" y="351"/>
                  </a:lnTo>
                  <a:lnTo>
                    <a:pt x="340" y="342"/>
                  </a:lnTo>
                  <a:lnTo>
                    <a:pt x="346" y="334"/>
                  </a:lnTo>
                  <a:lnTo>
                    <a:pt x="359" y="320"/>
                  </a:lnTo>
                  <a:close/>
                </a:path>
              </a:pathLst>
            </a:custGeom>
            <a:solidFill>
              <a:srgbClr val="ECE8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7" name="Freeform 1616">
              <a:extLst>
                <a:ext uri="{FF2B5EF4-FFF2-40B4-BE49-F238E27FC236}">
                  <a16:creationId xmlns:a16="http://schemas.microsoft.com/office/drawing/2014/main" id="{AC5E3376-A37A-4388-A5A2-614FD1AD95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2" y="1287"/>
              <a:ext cx="1096" cy="984"/>
            </a:xfrm>
            <a:custGeom>
              <a:avLst/>
              <a:gdLst>
                <a:gd name="T0" fmla="*/ 396 w 1096"/>
                <a:gd name="T1" fmla="*/ 281 h 984"/>
                <a:gd name="T2" fmla="*/ 412 w 1096"/>
                <a:gd name="T3" fmla="*/ 229 h 984"/>
                <a:gd name="T4" fmla="*/ 420 w 1096"/>
                <a:gd name="T5" fmla="*/ 204 h 984"/>
                <a:gd name="T6" fmla="*/ 451 w 1096"/>
                <a:gd name="T7" fmla="*/ 107 h 984"/>
                <a:gd name="T8" fmla="*/ 448 w 1096"/>
                <a:gd name="T9" fmla="*/ 31 h 984"/>
                <a:gd name="T10" fmla="*/ 473 w 1096"/>
                <a:gd name="T11" fmla="*/ 49 h 984"/>
                <a:gd name="T12" fmla="*/ 606 w 1096"/>
                <a:gd name="T13" fmla="*/ 270 h 984"/>
                <a:gd name="T14" fmla="*/ 737 w 1096"/>
                <a:gd name="T15" fmla="*/ 392 h 984"/>
                <a:gd name="T16" fmla="*/ 788 w 1096"/>
                <a:gd name="T17" fmla="*/ 346 h 984"/>
                <a:gd name="T18" fmla="*/ 823 w 1096"/>
                <a:gd name="T19" fmla="*/ 343 h 984"/>
                <a:gd name="T20" fmla="*/ 864 w 1096"/>
                <a:gd name="T21" fmla="*/ 290 h 984"/>
                <a:gd name="T22" fmla="*/ 873 w 1096"/>
                <a:gd name="T23" fmla="*/ 310 h 984"/>
                <a:gd name="T24" fmla="*/ 922 w 1096"/>
                <a:gd name="T25" fmla="*/ 326 h 984"/>
                <a:gd name="T26" fmla="*/ 947 w 1096"/>
                <a:gd name="T27" fmla="*/ 307 h 984"/>
                <a:gd name="T28" fmla="*/ 978 w 1096"/>
                <a:gd name="T29" fmla="*/ 292 h 984"/>
                <a:gd name="T30" fmla="*/ 1038 w 1096"/>
                <a:gd name="T31" fmla="*/ 304 h 984"/>
                <a:gd name="T32" fmla="*/ 1060 w 1096"/>
                <a:gd name="T33" fmla="*/ 304 h 984"/>
                <a:gd name="T34" fmla="*/ 1060 w 1096"/>
                <a:gd name="T35" fmla="*/ 317 h 984"/>
                <a:gd name="T36" fmla="*/ 1069 w 1096"/>
                <a:gd name="T37" fmla="*/ 332 h 984"/>
                <a:gd name="T38" fmla="*/ 1078 w 1096"/>
                <a:gd name="T39" fmla="*/ 351 h 984"/>
                <a:gd name="T40" fmla="*/ 1091 w 1096"/>
                <a:gd name="T41" fmla="*/ 379 h 984"/>
                <a:gd name="T42" fmla="*/ 1074 w 1096"/>
                <a:gd name="T43" fmla="*/ 437 h 984"/>
                <a:gd name="T44" fmla="*/ 959 w 1096"/>
                <a:gd name="T45" fmla="*/ 375 h 984"/>
                <a:gd name="T46" fmla="*/ 940 w 1096"/>
                <a:gd name="T47" fmla="*/ 434 h 984"/>
                <a:gd name="T48" fmla="*/ 912 w 1096"/>
                <a:gd name="T49" fmla="*/ 472 h 984"/>
                <a:gd name="T50" fmla="*/ 870 w 1096"/>
                <a:gd name="T51" fmla="*/ 497 h 984"/>
                <a:gd name="T52" fmla="*/ 801 w 1096"/>
                <a:gd name="T53" fmla="*/ 536 h 984"/>
                <a:gd name="T54" fmla="*/ 751 w 1096"/>
                <a:gd name="T55" fmla="*/ 636 h 984"/>
                <a:gd name="T56" fmla="*/ 658 w 1096"/>
                <a:gd name="T57" fmla="*/ 619 h 984"/>
                <a:gd name="T58" fmla="*/ 638 w 1096"/>
                <a:gd name="T59" fmla="*/ 680 h 984"/>
                <a:gd name="T60" fmla="*/ 600 w 1096"/>
                <a:gd name="T61" fmla="*/ 743 h 984"/>
                <a:gd name="T62" fmla="*/ 552 w 1096"/>
                <a:gd name="T63" fmla="*/ 801 h 984"/>
                <a:gd name="T64" fmla="*/ 523 w 1096"/>
                <a:gd name="T65" fmla="*/ 854 h 984"/>
                <a:gd name="T66" fmla="*/ 516 w 1096"/>
                <a:gd name="T67" fmla="*/ 892 h 984"/>
                <a:gd name="T68" fmla="*/ 495 w 1096"/>
                <a:gd name="T69" fmla="*/ 920 h 984"/>
                <a:gd name="T70" fmla="*/ 433 w 1096"/>
                <a:gd name="T71" fmla="*/ 934 h 984"/>
                <a:gd name="T72" fmla="*/ 412 w 1096"/>
                <a:gd name="T73" fmla="*/ 926 h 984"/>
                <a:gd name="T74" fmla="*/ 373 w 1096"/>
                <a:gd name="T75" fmla="*/ 959 h 984"/>
                <a:gd name="T76" fmla="*/ 279 w 1096"/>
                <a:gd name="T77" fmla="*/ 955 h 984"/>
                <a:gd name="T78" fmla="*/ 210 w 1096"/>
                <a:gd name="T79" fmla="*/ 975 h 984"/>
                <a:gd name="T80" fmla="*/ 174 w 1096"/>
                <a:gd name="T81" fmla="*/ 951 h 984"/>
                <a:gd name="T82" fmla="*/ 158 w 1096"/>
                <a:gd name="T83" fmla="*/ 900 h 984"/>
                <a:gd name="T84" fmla="*/ 113 w 1096"/>
                <a:gd name="T85" fmla="*/ 887 h 984"/>
                <a:gd name="T86" fmla="*/ 91 w 1096"/>
                <a:gd name="T87" fmla="*/ 859 h 984"/>
                <a:gd name="T88" fmla="*/ 47 w 1096"/>
                <a:gd name="T89" fmla="*/ 792 h 984"/>
                <a:gd name="T90" fmla="*/ 0 w 1096"/>
                <a:gd name="T91" fmla="*/ 719 h 984"/>
                <a:gd name="T92" fmla="*/ 14 w 1096"/>
                <a:gd name="T93" fmla="*/ 679 h 984"/>
                <a:gd name="T94" fmla="*/ 53 w 1096"/>
                <a:gd name="T95" fmla="*/ 638 h 984"/>
                <a:gd name="T96" fmla="*/ 103 w 1096"/>
                <a:gd name="T97" fmla="*/ 593 h 984"/>
                <a:gd name="T98" fmla="*/ 113 w 1096"/>
                <a:gd name="T99" fmla="*/ 506 h 984"/>
                <a:gd name="T100" fmla="*/ 158 w 1096"/>
                <a:gd name="T101" fmla="*/ 480 h 984"/>
                <a:gd name="T102" fmla="*/ 179 w 1096"/>
                <a:gd name="T103" fmla="*/ 495 h 984"/>
                <a:gd name="T104" fmla="*/ 183 w 1096"/>
                <a:gd name="T105" fmla="*/ 456 h 984"/>
                <a:gd name="T106" fmla="*/ 211 w 1096"/>
                <a:gd name="T107" fmla="*/ 414 h 984"/>
                <a:gd name="T108" fmla="*/ 266 w 1096"/>
                <a:gd name="T109" fmla="*/ 359 h 984"/>
                <a:gd name="T110" fmla="*/ 323 w 1096"/>
                <a:gd name="T111" fmla="*/ 356 h 9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96" h="984">
                  <a:moveTo>
                    <a:pt x="359" y="320"/>
                  </a:moveTo>
                  <a:lnTo>
                    <a:pt x="370" y="309"/>
                  </a:lnTo>
                  <a:lnTo>
                    <a:pt x="382" y="301"/>
                  </a:lnTo>
                  <a:lnTo>
                    <a:pt x="385" y="301"/>
                  </a:lnTo>
                  <a:lnTo>
                    <a:pt x="393" y="296"/>
                  </a:lnTo>
                  <a:lnTo>
                    <a:pt x="395" y="287"/>
                  </a:lnTo>
                  <a:lnTo>
                    <a:pt x="396" y="281"/>
                  </a:lnTo>
                  <a:lnTo>
                    <a:pt x="404" y="273"/>
                  </a:lnTo>
                  <a:lnTo>
                    <a:pt x="404" y="270"/>
                  </a:lnTo>
                  <a:lnTo>
                    <a:pt x="400" y="263"/>
                  </a:lnTo>
                  <a:lnTo>
                    <a:pt x="395" y="259"/>
                  </a:lnTo>
                  <a:lnTo>
                    <a:pt x="406" y="243"/>
                  </a:lnTo>
                  <a:lnTo>
                    <a:pt x="406" y="234"/>
                  </a:lnTo>
                  <a:lnTo>
                    <a:pt x="412" y="229"/>
                  </a:lnTo>
                  <a:lnTo>
                    <a:pt x="414" y="224"/>
                  </a:lnTo>
                  <a:lnTo>
                    <a:pt x="409" y="215"/>
                  </a:lnTo>
                  <a:lnTo>
                    <a:pt x="411" y="213"/>
                  </a:lnTo>
                  <a:lnTo>
                    <a:pt x="412" y="210"/>
                  </a:lnTo>
                  <a:lnTo>
                    <a:pt x="418" y="213"/>
                  </a:lnTo>
                  <a:lnTo>
                    <a:pt x="420" y="210"/>
                  </a:lnTo>
                  <a:lnTo>
                    <a:pt x="420" y="204"/>
                  </a:lnTo>
                  <a:lnTo>
                    <a:pt x="426" y="191"/>
                  </a:lnTo>
                  <a:lnTo>
                    <a:pt x="426" y="177"/>
                  </a:lnTo>
                  <a:lnTo>
                    <a:pt x="433" y="143"/>
                  </a:lnTo>
                  <a:lnTo>
                    <a:pt x="433" y="138"/>
                  </a:lnTo>
                  <a:lnTo>
                    <a:pt x="439" y="132"/>
                  </a:lnTo>
                  <a:lnTo>
                    <a:pt x="445" y="116"/>
                  </a:lnTo>
                  <a:lnTo>
                    <a:pt x="451" y="107"/>
                  </a:lnTo>
                  <a:lnTo>
                    <a:pt x="456" y="99"/>
                  </a:lnTo>
                  <a:lnTo>
                    <a:pt x="454" y="78"/>
                  </a:lnTo>
                  <a:lnTo>
                    <a:pt x="450" y="74"/>
                  </a:lnTo>
                  <a:lnTo>
                    <a:pt x="450" y="71"/>
                  </a:lnTo>
                  <a:lnTo>
                    <a:pt x="456" y="49"/>
                  </a:lnTo>
                  <a:lnTo>
                    <a:pt x="450" y="41"/>
                  </a:lnTo>
                  <a:lnTo>
                    <a:pt x="448" y="31"/>
                  </a:lnTo>
                  <a:lnTo>
                    <a:pt x="440" y="22"/>
                  </a:lnTo>
                  <a:lnTo>
                    <a:pt x="440" y="17"/>
                  </a:lnTo>
                  <a:lnTo>
                    <a:pt x="448" y="8"/>
                  </a:lnTo>
                  <a:lnTo>
                    <a:pt x="454" y="6"/>
                  </a:lnTo>
                  <a:lnTo>
                    <a:pt x="461" y="8"/>
                  </a:lnTo>
                  <a:lnTo>
                    <a:pt x="473" y="0"/>
                  </a:lnTo>
                  <a:lnTo>
                    <a:pt x="473" y="49"/>
                  </a:lnTo>
                  <a:lnTo>
                    <a:pt x="473" y="71"/>
                  </a:lnTo>
                  <a:lnTo>
                    <a:pt x="473" y="141"/>
                  </a:lnTo>
                  <a:lnTo>
                    <a:pt x="473" y="180"/>
                  </a:lnTo>
                  <a:lnTo>
                    <a:pt x="473" y="199"/>
                  </a:lnTo>
                  <a:lnTo>
                    <a:pt x="473" y="270"/>
                  </a:lnTo>
                  <a:lnTo>
                    <a:pt x="494" y="270"/>
                  </a:lnTo>
                  <a:lnTo>
                    <a:pt x="606" y="270"/>
                  </a:lnTo>
                  <a:lnTo>
                    <a:pt x="641" y="270"/>
                  </a:lnTo>
                  <a:lnTo>
                    <a:pt x="705" y="270"/>
                  </a:lnTo>
                  <a:lnTo>
                    <a:pt x="704" y="419"/>
                  </a:lnTo>
                  <a:lnTo>
                    <a:pt x="710" y="415"/>
                  </a:lnTo>
                  <a:lnTo>
                    <a:pt x="713" y="415"/>
                  </a:lnTo>
                  <a:lnTo>
                    <a:pt x="727" y="400"/>
                  </a:lnTo>
                  <a:lnTo>
                    <a:pt x="737" y="392"/>
                  </a:lnTo>
                  <a:lnTo>
                    <a:pt x="748" y="390"/>
                  </a:lnTo>
                  <a:lnTo>
                    <a:pt x="751" y="382"/>
                  </a:lnTo>
                  <a:lnTo>
                    <a:pt x="755" y="375"/>
                  </a:lnTo>
                  <a:lnTo>
                    <a:pt x="776" y="364"/>
                  </a:lnTo>
                  <a:lnTo>
                    <a:pt x="777" y="359"/>
                  </a:lnTo>
                  <a:lnTo>
                    <a:pt x="784" y="356"/>
                  </a:lnTo>
                  <a:lnTo>
                    <a:pt x="788" y="346"/>
                  </a:lnTo>
                  <a:lnTo>
                    <a:pt x="791" y="343"/>
                  </a:lnTo>
                  <a:lnTo>
                    <a:pt x="788" y="342"/>
                  </a:lnTo>
                  <a:lnTo>
                    <a:pt x="796" y="342"/>
                  </a:lnTo>
                  <a:lnTo>
                    <a:pt x="798" y="337"/>
                  </a:lnTo>
                  <a:lnTo>
                    <a:pt x="802" y="337"/>
                  </a:lnTo>
                  <a:lnTo>
                    <a:pt x="820" y="351"/>
                  </a:lnTo>
                  <a:lnTo>
                    <a:pt x="823" y="343"/>
                  </a:lnTo>
                  <a:lnTo>
                    <a:pt x="842" y="324"/>
                  </a:lnTo>
                  <a:lnTo>
                    <a:pt x="849" y="315"/>
                  </a:lnTo>
                  <a:lnTo>
                    <a:pt x="856" y="314"/>
                  </a:lnTo>
                  <a:lnTo>
                    <a:pt x="851" y="307"/>
                  </a:lnTo>
                  <a:lnTo>
                    <a:pt x="857" y="299"/>
                  </a:lnTo>
                  <a:lnTo>
                    <a:pt x="857" y="295"/>
                  </a:lnTo>
                  <a:lnTo>
                    <a:pt x="864" y="290"/>
                  </a:lnTo>
                  <a:lnTo>
                    <a:pt x="865" y="296"/>
                  </a:lnTo>
                  <a:lnTo>
                    <a:pt x="873" y="296"/>
                  </a:lnTo>
                  <a:lnTo>
                    <a:pt x="873" y="298"/>
                  </a:lnTo>
                  <a:lnTo>
                    <a:pt x="873" y="301"/>
                  </a:lnTo>
                  <a:lnTo>
                    <a:pt x="864" y="304"/>
                  </a:lnTo>
                  <a:lnTo>
                    <a:pt x="867" y="309"/>
                  </a:lnTo>
                  <a:lnTo>
                    <a:pt x="873" y="310"/>
                  </a:lnTo>
                  <a:lnTo>
                    <a:pt x="876" y="315"/>
                  </a:lnTo>
                  <a:lnTo>
                    <a:pt x="887" y="323"/>
                  </a:lnTo>
                  <a:lnTo>
                    <a:pt x="892" y="323"/>
                  </a:lnTo>
                  <a:lnTo>
                    <a:pt x="893" y="324"/>
                  </a:lnTo>
                  <a:lnTo>
                    <a:pt x="901" y="323"/>
                  </a:lnTo>
                  <a:lnTo>
                    <a:pt x="911" y="326"/>
                  </a:lnTo>
                  <a:lnTo>
                    <a:pt x="922" y="326"/>
                  </a:lnTo>
                  <a:lnTo>
                    <a:pt x="929" y="326"/>
                  </a:lnTo>
                  <a:lnTo>
                    <a:pt x="934" y="323"/>
                  </a:lnTo>
                  <a:lnTo>
                    <a:pt x="937" y="318"/>
                  </a:lnTo>
                  <a:lnTo>
                    <a:pt x="942" y="318"/>
                  </a:lnTo>
                  <a:lnTo>
                    <a:pt x="933" y="309"/>
                  </a:lnTo>
                  <a:lnTo>
                    <a:pt x="934" y="306"/>
                  </a:lnTo>
                  <a:lnTo>
                    <a:pt x="947" y="307"/>
                  </a:lnTo>
                  <a:lnTo>
                    <a:pt x="939" y="298"/>
                  </a:lnTo>
                  <a:lnTo>
                    <a:pt x="950" y="299"/>
                  </a:lnTo>
                  <a:lnTo>
                    <a:pt x="951" y="295"/>
                  </a:lnTo>
                  <a:lnTo>
                    <a:pt x="956" y="295"/>
                  </a:lnTo>
                  <a:lnTo>
                    <a:pt x="958" y="292"/>
                  </a:lnTo>
                  <a:lnTo>
                    <a:pt x="975" y="298"/>
                  </a:lnTo>
                  <a:lnTo>
                    <a:pt x="978" y="292"/>
                  </a:lnTo>
                  <a:lnTo>
                    <a:pt x="984" y="287"/>
                  </a:lnTo>
                  <a:lnTo>
                    <a:pt x="984" y="282"/>
                  </a:lnTo>
                  <a:lnTo>
                    <a:pt x="989" y="282"/>
                  </a:lnTo>
                  <a:lnTo>
                    <a:pt x="995" y="277"/>
                  </a:lnTo>
                  <a:lnTo>
                    <a:pt x="1014" y="282"/>
                  </a:lnTo>
                  <a:lnTo>
                    <a:pt x="1030" y="298"/>
                  </a:lnTo>
                  <a:lnTo>
                    <a:pt x="1038" y="304"/>
                  </a:lnTo>
                  <a:lnTo>
                    <a:pt x="1042" y="299"/>
                  </a:lnTo>
                  <a:lnTo>
                    <a:pt x="1049" y="307"/>
                  </a:lnTo>
                  <a:lnTo>
                    <a:pt x="1050" y="306"/>
                  </a:lnTo>
                  <a:lnTo>
                    <a:pt x="1047" y="299"/>
                  </a:lnTo>
                  <a:lnTo>
                    <a:pt x="1049" y="298"/>
                  </a:lnTo>
                  <a:lnTo>
                    <a:pt x="1058" y="306"/>
                  </a:lnTo>
                  <a:lnTo>
                    <a:pt x="1060" y="304"/>
                  </a:lnTo>
                  <a:lnTo>
                    <a:pt x="1060" y="299"/>
                  </a:lnTo>
                  <a:lnTo>
                    <a:pt x="1067" y="304"/>
                  </a:lnTo>
                  <a:lnTo>
                    <a:pt x="1070" y="301"/>
                  </a:lnTo>
                  <a:lnTo>
                    <a:pt x="1070" y="310"/>
                  </a:lnTo>
                  <a:lnTo>
                    <a:pt x="1069" y="314"/>
                  </a:lnTo>
                  <a:lnTo>
                    <a:pt x="1061" y="315"/>
                  </a:lnTo>
                  <a:lnTo>
                    <a:pt x="1060" y="317"/>
                  </a:lnTo>
                  <a:lnTo>
                    <a:pt x="1066" y="318"/>
                  </a:lnTo>
                  <a:lnTo>
                    <a:pt x="1066" y="328"/>
                  </a:lnTo>
                  <a:lnTo>
                    <a:pt x="1070" y="324"/>
                  </a:lnTo>
                  <a:lnTo>
                    <a:pt x="1074" y="326"/>
                  </a:lnTo>
                  <a:lnTo>
                    <a:pt x="1074" y="324"/>
                  </a:lnTo>
                  <a:lnTo>
                    <a:pt x="1075" y="329"/>
                  </a:lnTo>
                  <a:lnTo>
                    <a:pt x="1069" y="332"/>
                  </a:lnTo>
                  <a:lnTo>
                    <a:pt x="1075" y="334"/>
                  </a:lnTo>
                  <a:lnTo>
                    <a:pt x="1086" y="334"/>
                  </a:lnTo>
                  <a:lnTo>
                    <a:pt x="1080" y="337"/>
                  </a:lnTo>
                  <a:lnTo>
                    <a:pt x="1085" y="345"/>
                  </a:lnTo>
                  <a:lnTo>
                    <a:pt x="1078" y="343"/>
                  </a:lnTo>
                  <a:lnTo>
                    <a:pt x="1080" y="346"/>
                  </a:lnTo>
                  <a:lnTo>
                    <a:pt x="1078" y="351"/>
                  </a:lnTo>
                  <a:lnTo>
                    <a:pt x="1080" y="353"/>
                  </a:lnTo>
                  <a:lnTo>
                    <a:pt x="1091" y="354"/>
                  </a:lnTo>
                  <a:lnTo>
                    <a:pt x="1094" y="361"/>
                  </a:lnTo>
                  <a:lnTo>
                    <a:pt x="1094" y="362"/>
                  </a:lnTo>
                  <a:lnTo>
                    <a:pt x="1091" y="368"/>
                  </a:lnTo>
                  <a:lnTo>
                    <a:pt x="1092" y="373"/>
                  </a:lnTo>
                  <a:lnTo>
                    <a:pt x="1091" y="379"/>
                  </a:lnTo>
                  <a:lnTo>
                    <a:pt x="1092" y="382"/>
                  </a:lnTo>
                  <a:lnTo>
                    <a:pt x="1096" y="386"/>
                  </a:lnTo>
                  <a:lnTo>
                    <a:pt x="1091" y="395"/>
                  </a:lnTo>
                  <a:lnTo>
                    <a:pt x="1088" y="406"/>
                  </a:lnTo>
                  <a:lnTo>
                    <a:pt x="1078" y="420"/>
                  </a:lnTo>
                  <a:lnTo>
                    <a:pt x="1075" y="436"/>
                  </a:lnTo>
                  <a:lnTo>
                    <a:pt x="1074" y="437"/>
                  </a:lnTo>
                  <a:lnTo>
                    <a:pt x="1028" y="400"/>
                  </a:lnTo>
                  <a:lnTo>
                    <a:pt x="984" y="364"/>
                  </a:lnTo>
                  <a:lnTo>
                    <a:pt x="975" y="354"/>
                  </a:lnTo>
                  <a:lnTo>
                    <a:pt x="958" y="345"/>
                  </a:lnTo>
                  <a:lnTo>
                    <a:pt x="958" y="368"/>
                  </a:lnTo>
                  <a:lnTo>
                    <a:pt x="954" y="373"/>
                  </a:lnTo>
                  <a:lnTo>
                    <a:pt x="959" y="375"/>
                  </a:lnTo>
                  <a:lnTo>
                    <a:pt x="959" y="379"/>
                  </a:lnTo>
                  <a:lnTo>
                    <a:pt x="944" y="401"/>
                  </a:lnTo>
                  <a:lnTo>
                    <a:pt x="947" y="406"/>
                  </a:lnTo>
                  <a:lnTo>
                    <a:pt x="940" y="415"/>
                  </a:lnTo>
                  <a:lnTo>
                    <a:pt x="940" y="419"/>
                  </a:lnTo>
                  <a:lnTo>
                    <a:pt x="947" y="428"/>
                  </a:lnTo>
                  <a:lnTo>
                    <a:pt x="940" y="434"/>
                  </a:lnTo>
                  <a:lnTo>
                    <a:pt x="937" y="442"/>
                  </a:lnTo>
                  <a:lnTo>
                    <a:pt x="928" y="444"/>
                  </a:lnTo>
                  <a:lnTo>
                    <a:pt x="923" y="450"/>
                  </a:lnTo>
                  <a:lnTo>
                    <a:pt x="915" y="461"/>
                  </a:lnTo>
                  <a:lnTo>
                    <a:pt x="911" y="466"/>
                  </a:lnTo>
                  <a:lnTo>
                    <a:pt x="914" y="470"/>
                  </a:lnTo>
                  <a:lnTo>
                    <a:pt x="912" y="472"/>
                  </a:lnTo>
                  <a:lnTo>
                    <a:pt x="903" y="486"/>
                  </a:lnTo>
                  <a:lnTo>
                    <a:pt x="895" y="483"/>
                  </a:lnTo>
                  <a:lnTo>
                    <a:pt x="892" y="491"/>
                  </a:lnTo>
                  <a:lnTo>
                    <a:pt x="884" y="498"/>
                  </a:lnTo>
                  <a:lnTo>
                    <a:pt x="876" y="505"/>
                  </a:lnTo>
                  <a:lnTo>
                    <a:pt x="875" y="497"/>
                  </a:lnTo>
                  <a:lnTo>
                    <a:pt x="870" y="497"/>
                  </a:lnTo>
                  <a:lnTo>
                    <a:pt x="868" y="502"/>
                  </a:lnTo>
                  <a:lnTo>
                    <a:pt x="859" y="511"/>
                  </a:lnTo>
                  <a:lnTo>
                    <a:pt x="854" y="525"/>
                  </a:lnTo>
                  <a:lnTo>
                    <a:pt x="842" y="544"/>
                  </a:lnTo>
                  <a:lnTo>
                    <a:pt x="815" y="522"/>
                  </a:lnTo>
                  <a:lnTo>
                    <a:pt x="806" y="535"/>
                  </a:lnTo>
                  <a:lnTo>
                    <a:pt x="801" y="536"/>
                  </a:lnTo>
                  <a:lnTo>
                    <a:pt x="801" y="544"/>
                  </a:lnTo>
                  <a:lnTo>
                    <a:pt x="793" y="561"/>
                  </a:lnTo>
                  <a:lnTo>
                    <a:pt x="793" y="574"/>
                  </a:lnTo>
                  <a:lnTo>
                    <a:pt x="785" y="572"/>
                  </a:lnTo>
                  <a:lnTo>
                    <a:pt x="785" y="574"/>
                  </a:lnTo>
                  <a:lnTo>
                    <a:pt x="760" y="625"/>
                  </a:lnTo>
                  <a:lnTo>
                    <a:pt x="751" y="636"/>
                  </a:lnTo>
                  <a:lnTo>
                    <a:pt x="741" y="644"/>
                  </a:lnTo>
                  <a:lnTo>
                    <a:pt x="704" y="632"/>
                  </a:lnTo>
                  <a:lnTo>
                    <a:pt x="693" y="605"/>
                  </a:lnTo>
                  <a:lnTo>
                    <a:pt x="669" y="593"/>
                  </a:lnTo>
                  <a:lnTo>
                    <a:pt x="664" y="605"/>
                  </a:lnTo>
                  <a:lnTo>
                    <a:pt x="664" y="614"/>
                  </a:lnTo>
                  <a:lnTo>
                    <a:pt x="658" y="619"/>
                  </a:lnTo>
                  <a:lnTo>
                    <a:pt x="660" y="638"/>
                  </a:lnTo>
                  <a:lnTo>
                    <a:pt x="652" y="651"/>
                  </a:lnTo>
                  <a:lnTo>
                    <a:pt x="649" y="661"/>
                  </a:lnTo>
                  <a:lnTo>
                    <a:pt x="643" y="661"/>
                  </a:lnTo>
                  <a:lnTo>
                    <a:pt x="633" y="672"/>
                  </a:lnTo>
                  <a:lnTo>
                    <a:pt x="633" y="677"/>
                  </a:lnTo>
                  <a:lnTo>
                    <a:pt x="638" y="680"/>
                  </a:lnTo>
                  <a:lnTo>
                    <a:pt x="636" y="687"/>
                  </a:lnTo>
                  <a:lnTo>
                    <a:pt x="628" y="690"/>
                  </a:lnTo>
                  <a:lnTo>
                    <a:pt x="610" y="710"/>
                  </a:lnTo>
                  <a:lnTo>
                    <a:pt x="610" y="716"/>
                  </a:lnTo>
                  <a:lnTo>
                    <a:pt x="603" y="727"/>
                  </a:lnTo>
                  <a:lnTo>
                    <a:pt x="605" y="732"/>
                  </a:lnTo>
                  <a:lnTo>
                    <a:pt x="600" y="743"/>
                  </a:lnTo>
                  <a:lnTo>
                    <a:pt x="597" y="751"/>
                  </a:lnTo>
                  <a:lnTo>
                    <a:pt x="591" y="763"/>
                  </a:lnTo>
                  <a:lnTo>
                    <a:pt x="577" y="773"/>
                  </a:lnTo>
                  <a:lnTo>
                    <a:pt x="566" y="787"/>
                  </a:lnTo>
                  <a:lnTo>
                    <a:pt x="564" y="792"/>
                  </a:lnTo>
                  <a:lnTo>
                    <a:pt x="555" y="796"/>
                  </a:lnTo>
                  <a:lnTo>
                    <a:pt x="552" y="801"/>
                  </a:lnTo>
                  <a:lnTo>
                    <a:pt x="552" y="806"/>
                  </a:lnTo>
                  <a:lnTo>
                    <a:pt x="539" y="817"/>
                  </a:lnTo>
                  <a:lnTo>
                    <a:pt x="541" y="825"/>
                  </a:lnTo>
                  <a:lnTo>
                    <a:pt x="533" y="829"/>
                  </a:lnTo>
                  <a:lnTo>
                    <a:pt x="533" y="839"/>
                  </a:lnTo>
                  <a:lnTo>
                    <a:pt x="522" y="851"/>
                  </a:lnTo>
                  <a:lnTo>
                    <a:pt x="523" y="854"/>
                  </a:lnTo>
                  <a:lnTo>
                    <a:pt x="522" y="861"/>
                  </a:lnTo>
                  <a:lnTo>
                    <a:pt x="522" y="862"/>
                  </a:lnTo>
                  <a:lnTo>
                    <a:pt x="533" y="862"/>
                  </a:lnTo>
                  <a:lnTo>
                    <a:pt x="541" y="868"/>
                  </a:lnTo>
                  <a:lnTo>
                    <a:pt x="536" y="875"/>
                  </a:lnTo>
                  <a:lnTo>
                    <a:pt x="520" y="883"/>
                  </a:lnTo>
                  <a:lnTo>
                    <a:pt x="516" y="892"/>
                  </a:lnTo>
                  <a:lnTo>
                    <a:pt x="522" y="893"/>
                  </a:lnTo>
                  <a:lnTo>
                    <a:pt x="528" y="892"/>
                  </a:lnTo>
                  <a:lnTo>
                    <a:pt x="527" y="900"/>
                  </a:lnTo>
                  <a:lnTo>
                    <a:pt x="512" y="906"/>
                  </a:lnTo>
                  <a:lnTo>
                    <a:pt x="511" y="909"/>
                  </a:lnTo>
                  <a:lnTo>
                    <a:pt x="503" y="911"/>
                  </a:lnTo>
                  <a:lnTo>
                    <a:pt x="495" y="920"/>
                  </a:lnTo>
                  <a:lnTo>
                    <a:pt x="484" y="925"/>
                  </a:lnTo>
                  <a:lnTo>
                    <a:pt x="483" y="920"/>
                  </a:lnTo>
                  <a:lnTo>
                    <a:pt x="481" y="914"/>
                  </a:lnTo>
                  <a:lnTo>
                    <a:pt x="476" y="909"/>
                  </a:lnTo>
                  <a:lnTo>
                    <a:pt x="469" y="911"/>
                  </a:lnTo>
                  <a:lnTo>
                    <a:pt x="456" y="917"/>
                  </a:lnTo>
                  <a:lnTo>
                    <a:pt x="433" y="934"/>
                  </a:lnTo>
                  <a:lnTo>
                    <a:pt x="428" y="933"/>
                  </a:lnTo>
                  <a:lnTo>
                    <a:pt x="423" y="934"/>
                  </a:lnTo>
                  <a:lnTo>
                    <a:pt x="423" y="936"/>
                  </a:lnTo>
                  <a:lnTo>
                    <a:pt x="420" y="937"/>
                  </a:lnTo>
                  <a:lnTo>
                    <a:pt x="418" y="934"/>
                  </a:lnTo>
                  <a:lnTo>
                    <a:pt x="412" y="933"/>
                  </a:lnTo>
                  <a:lnTo>
                    <a:pt x="412" y="926"/>
                  </a:lnTo>
                  <a:lnTo>
                    <a:pt x="401" y="925"/>
                  </a:lnTo>
                  <a:lnTo>
                    <a:pt x="395" y="934"/>
                  </a:lnTo>
                  <a:lnTo>
                    <a:pt x="401" y="944"/>
                  </a:lnTo>
                  <a:lnTo>
                    <a:pt x="400" y="947"/>
                  </a:lnTo>
                  <a:lnTo>
                    <a:pt x="382" y="959"/>
                  </a:lnTo>
                  <a:lnTo>
                    <a:pt x="375" y="961"/>
                  </a:lnTo>
                  <a:lnTo>
                    <a:pt x="373" y="959"/>
                  </a:lnTo>
                  <a:lnTo>
                    <a:pt x="370" y="956"/>
                  </a:lnTo>
                  <a:lnTo>
                    <a:pt x="360" y="962"/>
                  </a:lnTo>
                  <a:lnTo>
                    <a:pt x="337" y="966"/>
                  </a:lnTo>
                  <a:lnTo>
                    <a:pt x="318" y="975"/>
                  </a:lnTo>
                  <a:lnTo>
                    <a:pt x="296" y="961"/>
                  </a:lnTo>
                  <a:lnTo>
                    <a:pt x="287" y="947"/>
                  </a:lnTo>
                  <a:lnTo>
                    <a:pt x="279" y="955"/>
                  </a:lnTo>
                  <a:lnTo>
                    <a:pt x="277" y="964"/>
                  </a:lnTo>
                  <a:lnTo>
                    <a:pt x="260" y="972"/>
                  </a:lnTo>
                  <a:lnTo>
                    <a:pt x="257" y="972"/>
                  </a:lnTo>
                  <a:lnTo>
                    <a:pt x="255" y="978"/>
                  </a:lnTo>
                  <a:lnTo>
                    <a:pt x="244" y="984"/>
                  </a:lnTo>
                  <a:lnTo>
                    <a:pt x="219" y="984"/>
                  </a:lnTo>
                  <a:lnTo>
                    <a:pt x="210" y="975"/>
                  </a:lnTo>
                  <a:lnTo>
                    <a:pt x="202" y="972"/>
                  </a:lnTo>
                  <a:lnTo>
                    <a:pt x="201" y="966"/>
                  </a:lnTo>
                  <a:lnTo>
                    <a:pt x="191" y="962"/>
                  </a:lnTo>
                  <a:lnTo>
                    <a:pt x="185" y="964"/>
                  </a:lnTo>
                  <a:lnTo>
                    <a:pt x="179" y="962"/>
                  </a:lnTo>
                  <a:lnTo>
                    <a:pt x="175" y="956"/>
                  </a:lnTo>
                  <a:lnTo>
                    <a:pt x="174" y="951"/>
                  </a:lnTo>
                  <a:lnTo>
                    <a:pt x="166" y="947"/>
                  </a:lnTo>
                  <a:lnTo>
                    <a:pt x="160" y="937"/>
                  </a:lnTo>
                  <a:lnTo>
                    <a:pt x="163" y="926"/>
                  </a:lnTo>
                  <a:lnTo>
                    <a:pt x="147" y="911"/>
                  </a:lnTo>
                  <a:lnTo>
                    <a:pt x="149" y="908"/>
                  </a:lnTo>
                  <a:lnTo>
                    <a:pt x="155" y="904"/>
                  </a:lnTo>
                  <a:lnTo>
                    <a:pt x="158" y="900"/>
                  </a:lnTo>
                  <a:lnTo>
                    <a:pt x="153" y="893"/>
                  </a:lnTo>
                  <a:lnTo>
                    <a:pt x="149" y="890"/>
                  </a:lnTo>
                  <a:lnTo>
                    <a:pt x="138" y="893"/>
                  </a:lnTo>
                  <a:lnTo>
                    <a:pt x="133" y="889"/>
                  </a:lnTo>
                  <a:lnTo>
                    <a:pt x="132" y="897"/>
                  </a:lnTo>
                  <a:lnTo>
                    <a:pt x="124" y="889"/>
                  </a:lnTo>
                  <a:lnTo>
                    <a:pt x="113" y="887"/>
                  </a:lnTo>
                  <a:lnTo>
                    <a:pt x="111" y="884"/>
                  </a:lnTo>
                  <a:lnTo>
                    <a:pt x="113" y="883"/>
                  </a:lnTo>
                  <a:lnTo>
                    <a:pt x="114" y="878"/>
                  </a:lnTo>
                  <a:lnTo>
                    <a:pt x="110" y="875"/>
                  </a:lnTo>
                  <a:lnTo>
                    <a:pt x="103" y="862"/>
                  </a:lnTo>
                  <a:lnTo>
                    <a:pt x="99" y="868"/>
                  </a:lnTo>
                  <a:lnTo>
                    <a:pt x="91" y="859"/>
                  </a:lnTo>
                  <a:lnTo>
                    <a:pt x="78" y="854"/>
                  </a:lnTo>
                  <a:lnTo>
                    <a:pt x="72" y="834"/>
                  </a:lnTo>
                  <a:lnTo>
                    <a:pt x="74" y="829"/>
                  </a:lnTo>
                  <a:lnTo>
                    <a:pt x="67" y="823"/>
                  </a:lnTo>
                  <a:lnTo>
                    <a:pt x="55" y="815"/>
                  </a:lnTo>
                  <a:lnTo>
                    <a:pt x="50" y="798"/>
                  </a:lnTo>
                  <a:lnTo>
                    <a:pt x="47" y="792"/>
                  </a:lnTo>
                  <a:lnTo>
                    <a:pt x="31" y="782"/>
                  </a:lnTo>
                  <a:lnTo>
                    <a:pt x="33" y="777"/>
                  </a:lnTo>
                  <a:lnTo>
                    <a:pt x="37" y="774"/>
                  </a:lnTo>
                  <a:lnTo>
                    <a:pt x="37" y="768"/>
                  </a:lnTo>
                  <a:lnTo>
                    <a:pt x="28" y="759"/>
                  </a:lnTo>
                  <a:lnTo>
                    <a:pt x="12" y="729"/>
                  </a:lnTo>
                  <a:lnTo>
                    <a:pt x="0" y="719"/>
                  </a:lnTo>
                  <a:lnTo>
                    <a:pt x="0" y="715"/>
                  </a:lnTo>
                  <a:lnTo>
                    <a:pt x="8" y="710"/>
                  </a:lnTo>
                  <a:lnTo>
                    <a:pt x="9" y="707"/>
                  </a:lnTo>
                  <a:lnTo>
                    <a:pt x="8" y="693"/>
                  </a:lnTo>
                  <a:lnTo>
                    <a:pt x="12" y="691"/>
                  </a:lnTo>
                  <a:lnTo>
                    <a:pt x="17" y="690"/>
                  </a:lnTo>
                  <a:lnTo>
                    <a:pt x="14" y="679"/>
                  </a:lnTo>
                  <a:lnTo>
                    <a:pt x="17" y="674"/>
                  </a:lnTo>
                  <a:lnTo>
                    <a:pt x="11" y="657"/>
                  </a:lnTo>
                  <a:lnTo>
                    <a:pt x="12" y="644"/>
                  </a:lnTo>
                  <a:lnTo>
                    <a:pt x="17" y="646"/>
                  </a:lnTo>
                  <a:lnTo>
                    <a:pt x="22" y="647"/>
                  </a:lnTo>
                  <a:lnTo>
                    <a:pt x="33" y="646"/>
                  </a:lnTo>
                  <a:lnTo>
                    <a:pt x="53" y="638"/>
                  </a:lnTo>
                  <a:lnTo>
                    <a:pt x="56" y="641"/>
                  </a:lnTo>
                  <a:lnTo>
                    <a:pt x="72" y="636"/>
                  </a:lnTo>
                  <a:lnTo>
                    <a:pt x="74" y="629"/>
                  </a:lnTo>
                  <a:lnTo>
                    <a:pt x="78" y="597"/>
                  </a:lnTo>
                  <a:lnTo>
                    <a:pt x="83" y="593"/>
                  </a:lnTo>
                  <a:lnTo>
                    <a:pt x="95" y="596"/>
                  </a:lnTo>
                  <a:lnTo>
                    <a:pt x="103" y="593"/>
                  </a:lnTo>
                  <a:lnTo>
                    <a:pt x="105" y="582"/>
                  </a:lnTo>
                  <a:lnTo>
                    <a:pt x="102" y="569"/>
                  </a:lnTo>
                  <a:lnTo>
                    <a:pt x="103" y="560"/>
                  </a:lnTo>
                  <a:lnTo>
                    <a:pt x="95" y="541"/>
                  </a:lnTo>
                  <a:lnTo>
                    <a:pt x="100" y="533"/>
                  </a:lnTo>
                  <a:lnTo>
                    <a:pt x="111" y="524"/>
                  </a:lnTo>
                  <a:lnTo>
                    <a:pt x="113" y="506"/>
                  </a:lnTo>
                  <a:lnTo>
                    <a:pt x="121" y="491"/>
                  </a:lnTo>
                  <a:lnTo>
                    <a:pt x="124" y="483"/>
                  </a:lnTo>
                  <a:lnTo>
                    <a:pt x="130" y="480"/>
                  </a:lnTo>
                  <a:lnTo>
                    <a:pt x="133" y="472"/>
                  </a:lnTo>
                  <a:lnTo>
                    <a:pt x="144" y="472"/>
                  </a:lnTo>
                  <a:lnTo>
                    <a:pt x="149" y="478"/>
                  </a:lnTo>
                  <a:lnTo>
                    <a:pt x="158" y="480"/>
                  </a:lnTo>
                  <a:lnTo>
                    <a:pt x="160" y="481"/>
                  </a:lnTo>
                  <a:lnTo>
                    <a:pt x="166" y="497"/>
                  </a:lnTo>
                  <a:lnTo>
                    <a:pt x="158" y="506"/>
                  </a:lnTo>
                  <a:lnTo>
                    <a:pt x="163" y="509"/>
                  </a:lnTo>
                  <a:lnTo>
                    <a:pt x="168" y="514"/>
                  </a:lnTo>
                  <a:lnTo>
                    <a:pt x="174" y="509"/>
                  </a:lnTo>
                  <a:lnTo>
                    <a:pt x="179" y="495"/>
                  </a:lnTo>
                  <a:lnTo>
                    <a:pt x="183" y="491"/>
                  </a:lnTo>
                  <a:lnTo>
                    <a:pt x="193" y="498"/>
                  </a:lnTo>
                  <a:lnTo>
                    <a:pt x="196" y="497"/>
                  </a:lnTo>
                  <a:lnTo>
                    <a:pt x="193" y="486"/>
                  </a:lnTo>
                  <a:lnTo>
                    <a:pt x="194" y="472"/>
                  </a:lnTo>
                  <a:lnTo>
                    <a:pt x="185" y="464"/>
                  </a:lnTo>
                  <a:lnTo>
                    <a:pt x="183" y="456"/>
                  </a:lnTo>
                  <a:lnTo>
                    <a:pt x="185" y="455"/>
                  </a:lnTo>
                  <a:lnTo>
                    <a:pt x="193" y="455"/>
                  </a:lnTo>
                  <a:lnTo>
                    <a:pt x="199" y="450"/>
                  </a:lnTo>
                  <a:lnTo>
                    <a:pt x="201" y="440"/>
                  </a:lnTo>
                  <a:lnTo>
                    <a:pt x="199" y="426"/>
                  </a:lnTo>
                  <a:lnTo>
                    <a:pt x="205" y="415"/>
                  </a:lnTo>
                  <a:lnTo>
                    <a:pt x="211" y="414"/>
                  </a:lnTo>
                  <a:lnTo>
                    <a:pt x="213" y="401"/>
                  </a:lnTo>
                  <a:lnTo>
                    <a:pt x="219" y="398"/>
                  </a:lnTo>
                  <a:lnTo>
                    <a:pt x="240" y="400"/>
                  </a:lnTo>
                  <a:lnTo>
                    <a:pt x="241" y="381"/>
                  </a:lnTo>
                  <a:lnTo>
                    <a:pt x="246" y="375"/>
                  </a:lnTo>
                  <a:lnTo>
                    <a:pt x="263" y="361"/>
                  </a:lnTo>
                  <a:lnTo>
                    <a:pt x="266" y="359"/>
                  </a:lnTo>
                  <a:lnTo>
                    <a:pt x="269" y="361"/>
                  </a:lnTo>
                  <a:lnTo>
                    <a:pt x="284" y="378"/>
                  </a:lnTo>
                  <a:lnTo>
                    <a:pt x="291" y="375"/>
                  </a:lnTo>
                  <a:lnTo>
                    <a:pt x="304" y="365"/>
                  </a:lnTo>
                  <a:lnTo>
                    <a:pt x="313" y="364"/>
                  </a:lnTo>
                  <a:lnTo>
                    <a:pt x="318" y="359"/>
                  </a:lnTo>
                  <a:lnTo>
                    <a:pt x="323" y="356"/>
                  </a:lnTo>
                  <a:lnTo>
                    <a:pt x="327" y="351"/>
                  </a:lnTo>
                  <a:lnTo>
                    <a:pt x="340" y="342"/>
                  </a:lnTo>
                  <a:lnTo>
                    <a:pt x="346" y="334"/>
                  </a:lnTo>
                </a:path>
              </a:pathLst>
            </a:cu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8" name="Freeform 1617">
              <a:extLst>
                <a:ext uri="{FF2B5EF4-FFF2-40B4-BE49-F238E27FC236}">
                  <a16:creationId xmlns:a16="http://schemas.microsoft.com/office/drawing/2014/main" id="{698FEC21-C4A7-4B08-B0FA-23E8E540F6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50" y="2823"/>
              <a:ext cx="1064" cy="840"/>
            </a:xfrm>
            <a:custGeom>
              <a:avLst/>
              <a:gdLst>
                <a:gd name="T0" fmla="*/ 564 w 1064"/>
                <a:gd name="T1" fmla="*/ 831 h 840"/>
                <a:gd name="T2" fmla="*/ 351 w 1064"/>
                <a:gd name="T3" fmla="*/ 538 h 840"/>
                <a:gd name="T4" fmla="*/ 340 w 1064"/>
                <a:gd name="T5" fmla="*/ 527 h 840"/>
                <a:gd name="T6" fmla="*/ 337 w 1064"/>
                <a:gd name="T7" fmla="*/ 513 h 840"/>
                <a:gd name="T8" fmla="*/ 322 w 1064"/>
                <a:gd name="T9" fmla="*/ 508 h 840"/>
                <a:gd name="T10" fmla="*/ 318 w 1064"/>
                <a:gd name="T11" fmla="*/ 494 h 840"/>
                <a:gd name="T12" fmla="*/ 321 w 1064"/>
                <a:gd name="T13" fmla="*/ 475 h 840"/>
                <a:gd name="T14" fmla="*/ 297 w 1064"/>
                <a:gd name="T15" fmla="*/ 450 h 840"/>
                <a:gd name="T16" fmla="*/ 271 w 1064"/>
                <a:gd name="T17" fmla="*/ 437 h 840"/>
                <a:gd name="T18" fmla="*/ 250 w 1064"/>
                <a:gd name="T19" fmla="*/ 411 h 840"/>
                <a:gd name="T20" fmla="*/ 224 w 1064"/>
                <a:gd name="T21" fmla="*/ 373 h 840"/>
                <a:gd name="T22" fmla="*/ 200 w 1064"/>
                <a:gd name="T23" fmla="*/ 359 h 840"/>
                <a:gd name="T24" fmla="*/ 169 w 1064"/>
                <a:gd name="T25" fmla="*/ 325 h 840"/>
                <a:gd name="T26" fmla="*/ 136 w 1064"/>
                <a:gd name="T27" fmla="*/ 273 h 840"/>
                <a:gd name="T28" fmla="*/ 122 w 1064"/>
                <a:gd name="T29" fmla="*/ 237 h 840"/>
                <a:gd name="T30" fmla="*/ 100 w 1064"/>
                <a:gd name="T31" fmla="*/ 199 h 840"/>
                <a:gd name="T32" fmla="*/ 61 w 1064"/>
                <a:gd name="T33" fmla="*/ 188 h 840"/>
                <a:gd name="T34" fmla="*/ 42 w 1064"/>
                <a:gd name="T35" fmla="*/ 166 h 840"/>
                <a:gd name="T36" fmla="*/ 0 w 1064"/>
                <a:gd name="T37" fmla="*/ 137 h 840"/>
                <a:gd name="T38" fmla="*/ 12 w 1064"/>
                <a:gd name="T39" fmla="*/ 110 h 840"/>
                <a:gd name="T40" fmla="*/ 23 w 1064"/>
                <a:gd name="T41" fmla="*/ 99 h 840"/>
                <a:gd name="T42" fmla="*/ 31 w 1064"/>
                <a:gd name="T43" fmla="*/ 88 h 840"/>
                <a:gd name="T44" fmla="*/ 43 w 1064"/>
                <a:gd name="T45" fmla="*/ 75 h 840"/>
                <a:gd name="T46" fmla="*/ 51 w 1064"/>
                <a:gd name="T47" fmla="*/ 71 h 840"/>
                <a:gd name="T48" fmla="*/ 54 w 1064"/>
                <a:gd name="T49" fmla="*/ 57 h 840"/>
                <a:gd name="T50" fmla="*/ 145 w 1064"/>
                <a:gd name="T51" fmla="*/ 33 h 840"/>
                <a:gd name="T52" fmla="*/ 175 w 1064"/>
                <a:gd name="T53" fmla="*/ 17 h 840"/>
                <a:gd name="T54" fmla="*/ 216 w 1064"/>
                <a:gd name="T55" fmla="*/ 0 h 840"/>
                <a:gd name="T56" fmla="*/ 232 w 1064"/>
                <a:gd name="T57" fmla="*/ 8 h 840"/>
                <a:gd name="T58" fmla="*/ 332 w 1064"/>
                <a:gd name="T59" fmla="*/ 8 h 840"/>
                <a:gd name="T60" fmla="*/ 514 w 1064"/>
                <a:gd name="T61" fmla="*/ 16 h 840"/>
                <a:gd name="T62" fmla="*/ 515 w 1064"/>
                <a:gd name="T63" fmla="*/ 47 h 840"/>
                <a:gd name="T64" fmla="*/ 572 w 1064"/>
                <a:gd name="T65" fmla="*/ 74 h 840"/>
                <a:gd name="T66" fmla="*/ 764 w 1064"/>
                <a:gd name="T67" fmla="*/ 110 h 840"/>
                <a:gd name="T68" fmla="*/ 871 w 1064"/>
                <a:gd name="T69" fmla="*/ 162 h 840"/>
                <a:gd name="T70" fmla="*/ 1054 w 1064"/>
                <a:gd name="T71" fmla="*/ 364 h 840"/>
                <a:gd name="T72" fmla="*/ 943 w 1064"/>
                <a:gd name="T73" fmla="*/ 481 h 840"/>
                <a:gd name="T74" fmla="*/ 926 w 1064"/>
                <a:gd name="T75" fmla="*/ 547 h 840"/>
                <a:gd name="T76" fmla="*/ 907 w 1064"/>
                <a:gd name="T77" fmla="*/ 568 h 840"/>
                <a:gd name="T78" fmla="*/ 840 w 1064"/>
                <a:gd name="T79" fmla="*/ 616 h 840"/>
                <a:gd name="T80" fmla="*/ 791 w 1064"/>
                <a:gd name="T81" fmla="*/ 613 h 840"/>
                <a:gd name="T82" fmla="*/ 760 w 1064"/>
                <a:gd name="T83" fmla="*/ 646 h 840"/>
                <a:gd name="T84" fmla="*/ 700 w 1064"/>
                <a:gd name="T85" fmla="*/ 712 h 840"/>
                <a:gd name="T86" fmla="*/ 655 w 1064"/>
                <a:gd name="T87" fmla="*/ 684 h 840"/>
                <a:gd name="T88" fmla="*/ 627 w 1064"/>
                <a:gd name="T89" fmla="*/ 726 h 840"/>
                <a:gd name="T90" fmla="*/ 650 w 1064"/>
                <a:gd name="T91" fmla="*/ 762 h 840"/>
                <a:gd name="T92" fmla="*/ 581 w 1064"/>
                <a:gd name="T93" fmla="*/ 765 h 840"/>
                <a:gd name="T94" fmla="*/ 554 w 1064"/>
                <a:gd name="T95" fmla="*/ 720 h 840"/>
                <a:gd name="T96" fmla="*/ 503 w 1064"/>
                <a:gd name="T97" fmla="*/ 831 h 840"/>
                <a:gd name="T98" fmla="*/ 493 w 1064"/>
                <a:gd name="T99" fmla="*/ 792 h 840"/>
                <a:gd name="T100" fmla="*/ 490 w 1064"/>
                <a:gd name="T101" fmla="*/ 771 h 840"/>
                <a:gd name="T102" fmla="*/ 481 w 1064"/>
                <a:gd name="T103" fmla="*/ 737 h 840"/>
                <a:gd name="T104" fmla="*/ 459 w 1064"/>
                <a:gd name="T105" fmla="*/ 710 h 840"/>
                <a:gd name="T106" fmla="*/ 443 w 1064"/>
                <a:gd name="T107" fmla="*/ 704 h 840"/>
                <a:gd name="T108" fmla="*/ 434 w 1064"/>
                <a:gd name="T109" fmla="*/ 677 h 840"/>
                <a:gd name="T110" fmla="*/ 432 w 1064"/>
                <a:gd name="T111" fmla="*/ 659 h 840"/>
                <a:gd name="T112" fmla="*/ 431 w 1064"/>
                <a:gd name="T113" fmla="*/ 640 h 840"/>
                <a:gd name="T114" fmla="*/ 417 w 1064"/>
                <a:gd name="T115" fmla="*/ 629 h 840"/>
                <a:gd name="T116" fmla="*/ 412 w 1064"/>
                <a:gd name="T117" fmla="*/ 608 h 840"/>
                <a:gd name="T118" fmla="*/ 407 w 1064"/>
                <a:gd name="T119" fmla="*/ 583 h 840"/>
                <a:gd name="T120" fmla="*/ 388 w 1064"/>
                <a:gd name="T121" fmla="*/ 572 h 840"/>
                <a:gd name="T122" fmla="*/ 357 w 1064"/>
                <a:gd name="T123" fmla="*/ 544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64" h="840">
                  <a:moveTo>
                    <a:pt x="576" y="792"/>
                  </a:moveTo>
                  <a:lnTo>
                    <a:pt x="587" y="787"/>
                  </a:lnTo>
                  <a:lnTo>
                    <a:pt x="598" y="801"/>
                  </a:lnTo>
                  <a:lnTo>
                    <a:pt x="564" y="831"/>
                  </a:lnTo>
                  <a:lnTo>
                    <a:pt x="576" y="792"/>
                  </a:lnTo>
                  <a:close/>
                  <a:moveTo>
                    <a:pt x="357" y="544"/>
                  </a:moveTo>
                  <a:lnTo>
                    <a:pt x="352" y="538"/>
                  </a:lnTo>
                  <a:lnTo>
                    <a:pt x="351" y="538"/>
                  </a:lnTo>
                  <a:lnTo>
                    <a:pt x="348" y="539"/>
                  </a:lnTo>
                  <a:lnTo>
                    <a:pt x="344" y="536"/>
                  </a:lnTo>
                  <a:lnTo>
                    <a:pt x="335" y="530"/>
                  </a:lnTo>
                  <a:lnTo>
                    <a:pt x="340" y="527"/>
                  </a:lnTo>
                  <a:lnTo>
                    <a:pt x="337" y="522"/>
                  </a:lnTo>
                  <a:lnTo>
                    <a:pt x="341" y="522"/>
                  </a:lnTo>
                  <a:lnTo>
                    <a:pt x="333" y="517"/>
                  </a:lnTo>
                  <a:lnTo>
                    <a:pt x="337" y="513"/>
                  </a:lnTo>
                  <a:lnTo>
                    <a:pt x="332" y="511"/>
                  </a:lnTo>
                  <a:lnTo>
                    <a:pt x="330" y="513"/>
                  </a:lnTo>
                  <a:lnTo>
                    <a:pt x="326" y="506"/>
                  </a:lnTo>
                  <a:lnTo>
                    <a:pt x="322" y="508"/>
                  </a:lnTo>
                  <a:lnTo>
                    <a:pt x="322" y="502"/>
                  </a:lnTo>
                  <a:lnTo>
                    <a:pt x="316" y="502"/>
                  </a:lnTo>
                  <a:lnTo>
                    <a:pt x="315" y="494"/>
                  </a:lnTo>
                  <a:lnTo>
                    <a:pt x="318" y="494"/>
                  </a:lnTo>
                  <a:lnTo>
                    <a:pt x="315" y="486"/>
                  </a:lnTo>
                  <a:lnTo>
                    <a:pt x="322" y="485"/>
                  </a:lnTo>
                  <a:lnTo>
                    <a:pt x="318" y="480"/>
                  </a:lnTo>
                  <a:lnTo>
                    <a:pt x="321" y="475"/>
                  </a:lnTo>
                  <a:lnTo>
                    <a:pt x="316" y="470"/>
                  </a:lnTo>
                  <a:lnTo>
                    <a:pt x="307" y="464"/>
                  </a:lnTo>
                  <a:lnTo>
                    <a:pt x="304" y="456"/>
                  </a:lnTo>
                  <a:lnTo>
                    <a:pt x="297" y="450"/>
                  </a:lnTo>
                  <a:lnTo>
                    <a:pt x="294" y="448"/>
                  </a:lnTo>
                  <a:lnTo>
                    <a:pt x="288" y="444"/>
                  </a:lnTo>
                  <a:lnTo>
                    <a:pt x="277" y="437"/>
                  </a:lnTo>
                  <a:lnTo>
                    <a:pt x="271" y="437"/>
                  </a:lnTo>
                  <a:lnTo>
                    <a:pt x="266" y="431"/>
                  </a:lnTo>
                  <a:lnTo>
                    <a:pt x="260" y="428"/>
                  </a:lnTo>
                  <a:lnTo>
                    <a:pt x="253" y="412"/>
                  </a:lnTo>
                  <a:lnTo>
                    <a:pt x="250" y="411"/>
                  </a:lnTo>
                  <a:lnTo>
                    <a:pt x="243" y="392"/>
                  </a:lnTo>
                  <a:lnTo>
                    <a:pt x="233" y="386"/>
                  </a:lnTo>
                  <a:lnTo>
                    <a:pt x="233" y="381"/>
                  </a:lnTo>
                  <a:lnTo>
                    <a:pt x="224" y="373"/>
                  </a:lnTo>
                  <a:lnTo>
                    <a:pt x="221" y="372"/>
                  </a:lnTo>
                  <a:lnTo>
                    <a:pt x="214" y="367"/>
                  </a:lnTo>
                  <a:lnTo>
                    <a:pt x="206" y="365"/>
                  </a:lnTo>
                  <a:lnTo>
                    <a:pt x="200" y="359"/>
                  </a:lnTo>
                  <a:lnTo>
                    <a:pt x="186" y="347"/>
                  </a:lnTo>
                  <a:lnTo>
                    <a:pt x="172" y="339"/>
                  </a:lnTo>
                  <a:lnTo>
                    <a:pt x="175" y="337"/>
                  </a:lnTo>
                  <a:lnTo>
                    <a:pt x="169" y="325"/>
                  </a:lnTo>
                  <a:lnTo>
                    <a:pt x="167" y="318"/>
                  </a:lnTo>
                  <a:lnTo>
                    <a:pt x="156" y="300"/>
                  </a:lnTo>
                  <a:lnTo>
                    <a:pt x="139" y="282"/>
                  </a:lnTo>
                  <a:lnTo>
                    <a:pt x="136" y="273"/>
                  </a:lnTo>
                  <a:lnTo>
                    <a:pt x="133" y="265"/>
                  </a:lnTo>
                  <a:lnTo>
                    <a:pt x="131" y="253"/>
                  </a:lnTo>
                  <a:lnTo>
                    <a:pt x="127" y="249"/>
                  </a:lnTo>
                  <a:lnTo>
                    <a:pt x="122" y="237"/>
                  </a:lnTo>
                  <a:lnTo>
                    <a:pt x="116" y="227"/>
                  </a:lnTo>
                  <a:lnTo>
                    <a:pt x="114" y="216"/>
                  </a:lnTo>
                  <a:lnTo>
                    <a:pt x="108" y="204"/>
                  </a:lnTo>
                  <a:lnTo>
                    <a:pt x="100" y="199"/>
                  </a:lnTo>
                  <a:lnTo>
                    <a:pt x="84" y="199"/>
                  </a:lnTo>
                  <a:lnTo>
                    <a:pt x="78" y="201"/>
                  </a:lnTo>
                  <a:lnTo>
                    <a:pt x="67" y="195"/>
                  </a:lnTo>
                  <a:lnTo>
                    <a:pt x="61" y="188"/>
                  </a:lnTo>
                  <a:lnTo>
                    <a:pt x="54" y="184"/>
                  </a:lnTo>
                  <a:lnTo>
                    <a:pt x="48" y="174"/>
                  </a:lnTo>
                  <a:lnTo>
                    <a:pt x="43" y="173"/>
                  </a:lnTo>
                  <a:lnTo>
                    <a:pt x="42" y="166"/>
                  </a:lnTo>
                  <a:lnTo>
                    <a:pt x="26" y="163"/>
                  </a:lnTo>
                  <a:lnTo>
                    <a:pt x="12" y="149"/>
                  </a:lnTo>
                  <a:lnTo>
                    <a:pt x="4" y="146"/>
                  </a:lnTo>
                  <a:lnTo>
                    <a:pt x="0" y="137"/>
                  </a:lnTo>
                  <a:lnTo>
                    <a:pt x="0" y="130"/>
                  </a:lnTo>
                  <a:lnTo>
                    <a:pt x="7" y="126"/>
                  </a:lnTo>
                  <a:lnTo>
                    <a:pt x="7" y="116"/>
                  </a:lnTo>
                  <a:lnTo>
                    <a:pt x="12" y="110"/>
                  </a:lnTo>
                  <a:lnTo>
                    <a:pt x="20" y="108"/>
                  </a:lnTo>
                  <a:lnTo>
                    <a:pt x="20" y="100"/>
                  </a:lnTo>
                  <a:lnTo>
                    <a:pt x="23" y="100"/>
                  </a:lnTo>
                  <a:lnTo>
                    <a:pt x="23" y="99"/>
                  </a:lnTo>
                  <a:lnTo>
                    <a:pt x="26" y="94"/>
                  </a:lnTo>
                  <a:lnTo>
                    <a:pt x="25" y="91"/>
                  </a:lnTo>
                  <a:lnTo>
                    <a:pt x="26" y="91"/>
                  </a:lnTo>
                  <a:lnTo>
                    <a:pt x="31" y="88"/>
                  </a:lnTo>
                  <a:lnTo>
                    <a:pt x="34" y="90"/>
                  </a:lnTo>
                  <a:lnTo>
                    <a:pt x="39" y="82"/>
                  </a:lnTo>
                  <a:lnTo>
                    <a:pt x="43" y="80"/>
                  </a:lnTo>
                  <a:lnTo>
                    <a:pt x="43" y="75"/>
                  </a:lnTo>
                  <a:lnTo>
                    <a:pt x="48" y="75"/>
                  </a:lnTo>
                  <a:lnTo>
                    <a:pt x="51" y="74"/>
                  </a:lnTo>
                  <a:lnTo>
                    <a:pt x="53" y="74"/>
                  </a:lnTo>
                  <a:lnTo>
                    <a:pt x="51" y="71"/>
                  </a:lnTo>
                  <a:lnTo>
                    <a:pt x="51" y="68"/>
                  </a:lnTo>
                  <a:lnTo>
                    <a:pt x="53" y="71"/>
                  </a:lnTo>
                  <a:lnTo>
                    <a:pt x="58" y="63"/>
                  </a:lnTo>
                  <a:lnTo>
                    <a:pt x="54" y="57"/>
                  </a:lnTo>
                  <a:lnTo>
                    <a:pt x="78" y="52"/>
                  </a:lnTo>
                  <a:lnTo>
                    <a:pt x="105" y="42"/>
                  </a:lnTo>
                  <a:lnTo>
                    <a:pt x="131" y="35"/>
                  </a:lnTo>
                  <a:lnTo>
                    <a:pt x="145" y="33"/>
                  </a:lnTo>
                  <a:lnTo>
                    <a:pt x="148" y="30"/>
                  </a:lnTo>
                  <a:lnTo>
                    <a:pt x="150" y="25"/>
                  </a:lnTo>
                  <a:lnTo>
                    <a:pt x="156" y="25"/>
                  </a:lnTo>
                  <a:lnTo>
                    <a:pt x="175" y="17"/>
                  </a:lnTo>
                  <a:lnTo>
                    <a:pt x="186" y="16"/>
                  </a:lnTo>
                  <a:lnTo>
                    <a:pt x="197" y="10"/>
                  </a:lnTo>
                  <a:lnTo>
                    <a:pt x="205" y="11"/>
                  </a:lnTo>
                  <a:lnTo>
                    <a:pt x="216" y="0"/>
                  </a:lnTo>
                  <a:lnTo>
                    <a:pt x="221" y="8"/>
                  </a:lnTo>
                  <a:lnTo>
                    <a:pt x="222" y="8"/>
                  </a:lnTo>
                  <a:lnTo>
                    <a:pt x="224" y="6"/>
                  </a:lnTo>
                  <a:lnTo>
                    <a:pt x="232" y="8"/>
                  </a:lnTo>
                  <a:lnTo>
                    <a:pt x="241" y="3"/>
                  </a:lnTo>
                  <a:lnTo>
                    <a:pt x="257" y="6"/>
                  </a:lnTo>
                  <a:lnTo>
                    <a:pt x="308" y="6"/>
                  </a:lnTo>
                  <a:lnTo>
                    <a:pt x="332" y="8"/>
                  </a:lnTo>
                  <a:lnTo>
                    <a:pt x="354" y="8"/>
                  </a:lnTo>
                  <a:lnTo>
                    <a:pt x="443" y="13"/>
                  </a:lnTo>
                  <a:lnTo>
                    <a:pt x="453" y="13"/>
                  </a:lnTo>
                  <a:lnTo>
                    <a:pt x="514" y="16"/>
                  </a:lnTo>
                  <a:lnTo>
                    <a:pt x="514" y="21"/>
                  </a:lnTo>
                  <a:lnTo>
                    <a:pt x="518" y="28"/>
                  </a:lnTo>
                  <a:lnTo>
                    <a:pt x="509" y="39"/>
                  </a:lnTo>
                  <a:lnTo>
                    <a:pt x="515" y="47"/>
                  </a:lnTo>
                  <a:lnTo>
                    <a:pt x="542" y="30"/>
                  </a:lnTo>
                  <a:lnTo>
                    <a:pt x="550" y="42"/>
                  </a:lnTo>
                  <a:lnTo>
                    <a:pt x="561" y="57"/>
                  </a:lnTo>
                  <a:lnTo>
                    <a:pt x="572" y="74"/>
                  </a:lnTo>
                  <a:lnTo>
                    <a:pt x="570" y="108"/>
                  </a:lnTo>
                  <a:lnTo>
                    <a:pt x="623" y="108"/>
                  </a:lnTo>
                  <a:lnTo>
                    <a:pt x="677" y="108"/>
                  </a:lnTo>
                  <a:lnTo>
                    <a:pt x="764" y="110"/>
                  </a:lnTo>
                  <a:lnTo>
                    <a:pt x="818" y="110"/>
                  </a:lnTo>
                  <a:lnTo>
                    <a:pt x="822" y="111"/>
                  </a:lnTo>
                  <a:lnTo>
                    <a:pt x="870" y="157"/>
                  </a:lnTo>
                  <a:lnTo>
                    <a:pt x="871" y="162"/>
                  </a:lnTo>
                  <a:lnTo>
                    <a:pt x="954" y="246"/>
                  </a:lnTo>
                  <a:lnTo>
                    <a:pt x="1047" y="340"/>
                  </a:lnTo>
                  <a:lnTo>
                    <a:pt x="1064" y="359"/>
                  </a:lnTo>
                  <a:lnTo>
                    <a:pt x="1054" y="364"/>
                  </a:lnTo>
                  <a:lnTo>
                    <a:pt x="1062" y="367"/>
                  </a:lnTo>
                  <a:lnTo>
                    <a:pt x="1004" y="403"/>
                  </a:lnTo>
                  <a:lnTo>
                    <a:pt x="970" y="444"/>
                  </a:lnTo>
                  <a:lnTo>
                    <a:pt x="943" y="481"/>
                  </a:lnTo>
                  <a:lnTo>
                    <a:pt x="937" y="511"/>
                  </a:lnTo>
                  <a:lnTo>
                    <a:pt x="935" y="503"/>
                  </a:lnTo>
                  <a:lnTo>
                    <a:pt x="910" y="517"/>
                  </a:lnTo>
                  <a:lnTo>
                    <a:pt x="926" y="547"/>
                  </a:lnTo>
                  <a:lnTo>
                    <a:pt x="921" y="557"/>
                  </a:lnTo>
                  <a:lnTo>
                    <a:pt x="891" y="555"/>
                  </a:lnTo>
                  <a:lnTo>
                    <a:pt x="904" y="558"/>
                  </a:lnTo>
                  <a:lnTo>
                    <a:pt x="907" y="568"/>
                  </a:lnTo>
                  <a:lnTo>
                    <a:pt x="879" y="591"/>
                  </a:lnTo>
                  <a:lnTo>
                    <a:pt x="841" y="591"/>
                  </a:lnTo>
                  <a:lnTo>
                    <a:pt x="833" y="601"/>
                  </a:lnTo>
                  <a:lnTo>
                    <a:pt x="840" y="616"/>
                  </a:lnTo>
                  <a:lnTo>
                    <a:pt x="835" y="621"/>
                  </a:lnTo>
                  <a:lnTo>
                    <a:pt x="804" y="649"/>
                  </a:lnTo>
                  <a:lnTo>
                    <a:pt x="769" y="652"/>
                  </a:lnTo>
                  <a:lnTo>
                    <a:pt x="791" y="613"/>
                  </a:lnTo>
                  <a:lnTo>
                    <a:pt x="769" y="632"/>
                  </a:lnTo>
                  <a:lnTo>
                    <a:pt x="763" y="618"/>
                  </a:lnTo>
                  <a:lnTo>
                    <a:pt x="755" y="621"/>
                  </a:lnTo>
                  <a:lnTo>
                    <a:pt x="760" y="646"/>
                  </a:lnTo>
                  <a:lnTo>
                    <a:pt x="772" y="666"/>
                  </a:lnTo>
                  <a:lnTo>
                    <a:pt x="771" y="682"/>
                  </a:lnTo>
                  <a:lnTo>
                    <a:pt x="749" y="701"/>
                  </a:lnTo>
                  <a:lnTo>
                    <a:pt x="700" y="712"/>
                  </a:lnTo>
                  <a:lnTo>
                    <a:pt x="685" y="727"/>
                  </a:lnTo>
                  <a:lnTo>
                    <a:pt x="670" y="726"/>
                  </a:lnTo>
                  <a:lnTo>
                    <a:pt x="661" y="687"/>
                  </a:lnTo>
                  <a:lnTo>
                    <a:pt x="655" y="684"/>
                  </a:lnTo>
                  <a:lnTo>
                    <a:pt x="659" y="727"/>
                  </a:lnTo>
                  <a:lnTo>
                    <a:pt x="641" y="726"/>
                  </a:lnTo>
                  <a:lnTo>
                    <a:pt x="625" y="712"/>
                  </a:lnTo>
                  <a:lnTo>
                    <a:pt x="627" y="726"/>
                  </a:lnTo>
                  <a:lnTo>
                    <a:pt x="605" y="723"/>
                  </a:lnTo>
                  <a:lnTo>
                    <a:pt x="605" y="729"/>
                  </a:lnTo>
                  <a:lnTo>
                    <a:pt x="641" y="746"/>
                  </a:lnTo>
                  <a:lnTo>
                    <a:pt x="650" y="762"/>
                  </a:lnTo>
                  <a:lnTo>
                    <a:pt x="645" y="776"/>
                  </a:lnTo>
                  <a:lnTo>
                    <a:pt x="608" y="787"/>
                  </a:lnTo>
                  <a:lnTo>
                    <a:pt x="597" y="784"/>
                  </a:lnTo>
                  <a:lnTo>
                    <a:pt x="581" y="765"/>
                  </a:lnTo>
                  <a:lnTo>
                    <a:pt x="570" y="735"/>
                  </a:lnTo>
                  <a:lnTo>
                    <a:pt x="572" y="727"/>
                  </a:lnTo>
                  <a:lnTo>
                    <a:pt x="562" y="723"/>
                  </a:lnTo>
                  <a:lnTo>
                    <a:pt x="554" y="720"/>
                  </a:lnTo>
                  <a:lnTo>
                    <a:pt x="564" y="754"/>
                  </a:lnTo>
                  <a:lnTo>
                    <a:pt x="573" y="793"/>
                  </a:lnTo>
                  <a:lnTo>
                    <a:pt x="550" y="840"/>
                  </a:lnTo>
                  <a:lnTo>
                    <a:pt x="503" y="831"/>
                  </a:lnTo>
                  <a:lnTo>
                    <a:pt x="498" y="829"/>
                  </a:lnTo>
                  <a:lnTo>
                    <a:pt x="500" y="809"/>
                  </a:lnTo>
                  <a:lnTo>
                    <a:pt x="493" y="801"/>
                  </a:lnTo>
                  <a:lnTo>
                    <a:pt x="493" y="792"/>
                  </a:lnTo>
                  <a:lnTo>
                    <a:pt x="496" y="785"/>
                  </a:lnTo>
                  <a:lnTo>
                    <a:pt x="496" y="773"/>
                  </a:lnTo>
                  <a:lnTo>
                    <a:pt x="493" y="767"/>
                  </a:lnTo>
                  <a:lnTo>
                    <a:pt x="490" y="771"/>
                  </a:lnTo>
                  <a:lnTo>
                    <a:pt x="485" y="762"/>
                  </a:lnTo>
                  <a:lnTo>
                    <a:pt x="485" y="757"/>
                  </a:lnTo>
                  <a:lnTo>
                    <a:pt x="481" y="748"/>
                  </a:lnTo>
                  <a:lnTo>
                    <a:pt x="481" y="737"/>
                  </a:lnTo>
                  <a:lnTo>
                    <a:pt x="471" y="721"/>
                  </a:lnTo>
                  <a:lnTo>
                    <a:pt x="467" y="720"/>
                  </a:lnTo>
                  <a:lnTo>
                    <a:pt x="464" y="713"/>
                  </a:lnTo>
                  <a:lnTo>
                    <a:pt x="459" y="710"/>
                  </a:lnTo>
                  <a:lnTo>
                    <a:pt x="449" y="709"/>
                  </a:lnTo>
                  <a:lnTo>
                    <a:pt x="448" y="707"/>
                  </a:lnTo>
                  <a:lnTo>
                    <a:pt x="443" y="707"/>
                  </a:lnTo>
                  <a:lnTo>
                    <a:pt x="443" y="704"/>
                  </a:lnTo>
                  <a:lnTo>
                    <a:pt x="440" y="702"/>
                  </a:lnTo>
                  <a:lnTo>
                    <a:pt x="434" y="695"/>
                  </a:lnTo>
                  <a:lnTo>
                    <a:pt x="435" y="687"/>
                  </a:lnTo>
                  <a:lnTo>
                    <a:pt x="434" y="677"/>
                  </a:lnTo>
                  <a:lnTo>
                    <a:pt x="432" y="674"/>
                  </a:lnTo>
                  <a:lnTo>
                    <a:pt x="434" y="665"/>
                  </a:lnTo>
                  <a:lnTo>
                    <a:pt x="431" y="662"/>
                  </a:lnTo>
                  <a:lnTo>
                    <a:pt x="432" y="659"/>
                  </a:lnTo>
                  <a:lnTo>
                    <a:pt x="427" y="652"/>
                  </a:lnTo>
                  <a:lnTo>
                    <a:pt x="432" y="646"/>
                  </a:lnTo>
                  <a:lnTo>
                    <a:pt x="427" y="644"/>
                  </a:lnTo>
                  <a:lnTo>
                    <a:pt x="431" y="640"/>
                  </a:lnTo>
                  <a:lnTo>
                    <a:pt x="427" y="638"/>
                  </a:lnTo>
                  <a:lnTo>
                    <a:pt x="423" y="637"/>
                  </a:lnTo>
                  <a:lnTo>
                    <a:pt x="423" y="629"/>
                  </a:lnTo>
                  <a:lnTo>
                    <a:pt x="417" y="629"/>
                  </a:lnTo>
                  <a:lnTo>
                    <a:pt x="421" y="622"/>
                  </a:lnTo>
                  <a:lnTo>
                    <a:pt x="418" y="622"/>
                  </a:lnTo>
                  <a:lnTo>
                    <a:pt x="412" y="610"/>
                  </a:lnTo>
                  <a:lnTo>
                    <a:pt x="412" y="608"/>
                  </a:lnTo>
                  <a:lnTo>
                    <a:pt x="413" y="607"/>
                  </a:lnTo>
                  <a:lnTo>
                    <a:pt x="415" y="594"/>
                  </a:lnTo>
                  <a:lnTo>
                    <a:pt x="412" y="593"/>
                  </a:lnTo>
                  <a:lnTo>
                    <a:pt x="407" y="583"/>
                  </a:lnTo>
                  <a:lnTo>
                    <a:pt x="404" y="583"/>
                  </a:lnTo>
                  <a:lnTo>
                    <a:pt x="399" y="580"/>
                  </a:lnTo>
                  <a:lnTo>
                    <a:pt x="393" y="575"/>
                  </a:lnTo>
                  <a:lnTo>
                    <a:pt x="388" y="572"/>
                  </a:lnTo>
                  <a:lnTo>
                    <a:pt x="368" y="563"/>
                  </a:lnTo>
                  <a:lnTo>
                    <a:pt x="360" y="557"/>
                  </a:lnTo>
                  <a:lnTo>
                    <a:pt x="354" y="549"/>
                  </a:lnTo>
                  <a:lnTo>
                    <a:pt x="357" y="544"/>
                  </a:lnTo>
                  <a:close/>
                </a:path>
              </a:pathLst>
            </a:custGeom>
            <a:solidFill>
              <a:srgbClr val="ECE8E4"/>
            </a:solidFill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9" name="Rectangle 1618">
              <a:extLst>
                <a:ext uri="{FF2B5EF4-FFF2-40B4-BE49-F238E27FC236}">
                  <a16:creationId xmlns:a16="http://schemas.microsoft.com/office/drawing/2014/main" id="{4CE436AE-D466-4332-B0DB-9D6096A940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6" y="729"/>
              <a:ext cx="143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>
                  <a:ln>
                    <a:noFill/>
                  </a:ln>
                  <a:solidFill>
                    <a:srgbClr val="3B4956"/>
                  </a:solidFill>
                  <a:effectLst/>
                  <a:latin typeface="Orsted Sans Office" panose="00000500000000000000" pitchFamily="2" charset="0"/>
                </a:rPr>
                <a:t>MA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30" name="Rectangle 1619">
              <a:extLst>
                <a:ext uri="{FF2B5EF4-FFF2-40B4-BE49-F238E27FC236}">
                  <a16:creationId xmlns:a16="http://schemas.microsoft.com/office/drawing/2014/main" id="{3E81FE0A-04CC-4D94-8C91-B5FC15F44E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15" y="939"/>
              <a:ext cx="129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>
                  <a:ln>
                    <a:noFill/>
                  </a:ln>
                  <a:solidFill>
                    <a:srgbClr val="3B4956"/>
                  </a:solidFill>
                  <a:effectLst/>
                  <a:latin typeface="Orsted Sans Office" panose="00000500000000000000" pitchFamily="2" charset="0"/>
                </a:rPr>
                <a:t>C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31" name="Rectangle 1620">
              <a:extLst>
                <a:ext uri="{FF2B5EF4-FFF2-40B4-BE49-F238E27FC236}">
                  <a16:creationId xmlns:a16="http://schemas.microsoft.com/office/drawing/2014/main" id="{D303FE2F-6DAB-4068-B69B-7049B3E19C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4" y="920"/>
              <a:ext cx="101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>
                  <a:ln>
                    <a:noFill/>
                  </a:ln>
                  <a:solidFill>
                    <a:srgbClr val="3B4956"/>
                  </a:solidFill>
                  <a:effectLst/>
                  <a:latin typeface="Orsted Sans Office" panose="00000500000000000000" pitchFamily="2" charset="0"/>
                </a:rPr>
                <a:t>RI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32" name="Rectangle 1621">
              <a:extLst>
                <a:ext uri="{FF2B5EF4-FFF2-40B4-BE49-F238E27FC236}">
                  <a16:creationId xmlns:a16="http://schemas.microsoft.com/office/drawing/2014/main" id="{6BCE4432-38F3-4AC2-B67B-C45CBF3287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9" y="586"/>
              <a:ext cx="135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>
                  <a:ln>
                    <a:noFill/>
                  </a:ln>
                  <a:solidFill>
                    <a:srgbClr val="3B4956"/>
                  </a:solidFill>
                  <a:effectLst/>
                  <a:latin typeface="Orsted Sans Office" panose="00000500000000000000" pitchFamily="2" charset="0"/>
                </a:rPr>
                <a:t>N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33" name="Rectangle 1622">
              <a:extLst>
                <a:ext uri="{FF2B5EF4-FFF2-40B4-BE49-F238E27FC236}">
                  <a16:creationId xmlns:a16="http://schemas.microsoft.com/office/drawing/2014/main" id="{2375E57C-0C14-4857-BA84-EA7E129936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7" y="1416"/>
              <a:ext cx="115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>
                  <a:ln>
                    <a:noFill/>
                  </a:ln>
                  <a:solidFill>
                    <a:srgbClr val="3B4956"/>
                  </a:solidFill>
                  <a:effectLst/>
                  <a:latin typeface="Orsted Sans Office" panose="00000500000000000000" pitchFamily="2" charset="0"/>
                </a:rPr>
                <a:t>NJ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34" name="Rectangle 1623">
              <a:extLst>
                <a:ext uri="{FF2B5EF4-FFF2-40B4-BE49-F238E27FC236}">
                  <a16:creationId xmlns:a16="http://schemas.microsoft.com/office/drawing/2014/main" id="{601CF404-70F7-4E5E-9FB3-DC0BD05F1F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3" y="1822"/>
              <a:ext cx="126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>
                  <a:ln>
                    <a:noFill/>
                  </a:ln>
                  <a:solidFill>
                    <a:srgbClr val="3B4956"/>
                  </a:solidFill>
                  <a:effectLst/>
                  <a:latin typeface="Orsted Sans Office" panose="00000500000000000000" pitchFamily="2" charset="0"/>
                </a:rPr>
                <a:t>D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35" name="Rectangle 1624">
              <a:extLst>
                <a:ext uri="{FF2B5EF4-FFF2-40B4-BE49-F238E27FC236}">
                  <a16:creationId xmlns:a16="http://schemas.microsoft.com/office/drawing/2014/main" id="{67EA7A33-D247-4E2C-ADA0-A88CC04287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" y="1602"/>
              <a:ext cx="143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>
                  <a:ln>
                    <a:noFill/>
                  </a:ln>
                  <a:solidFill>
                    <a:srgbClr val="3B4956"/>
                  </a:solidFill>
                  <a:effectLst/>
                  <a:latin typeface="Orsted Sans Office" panose="00000500000000000000" pitchFamily="2" charset="0"/>
                </a:rPr>
                <a:t>M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36" name="Rectangle 1625">
              <a:extLst>
                <a:ext uri="{FF2B5EF4-FFF2-40B4-BE49-F238E27FC236}">
                  <a16:creationId xmlns:a16="http://schemas.microsoft.com/office/drawing/2014/main" id="{7D897CEF-2408-470F-894F-94A0E93A66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" y="2156"/>
              <a:ext cx="88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>
                  <a:ln>
                    <a:noFill/>
                  </a:ln>
                  <a:solidFill>
                    <a:srgbClr val="3B4956"/>
                  </a:solidFill>
                  <a:effectLst/>
                  <a:latin typeface="Orsted Sans Office" panose="00000500000000000000" pitchFamily="2" charset="0"/>
                </a:rPr>
                <a:t>V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37" name="Rectangle 1626">
              <a:extLst>
                <a:ext uri="{FF2B5EF4-FFF2-40B4-BE49-F238E27FC236}">
                  <a16:creationId xmlns:a16="http://schemas.microsoft.com/office/drawing/2014/main" id="{7AC4F80C-11CD-4461-9900-0D6876D035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" y="2156"/>
              <a:ext cx="88" cy="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00" b="1" i="0" u="none" strike="noStrike" cap="none" normalizeH="0" baseline="0">
                  <a:ln>
                    <a:noFill/>
                  </a:ln>
                  <a:solidFill>
                    <a:srgbClr val="3B4956"/>
                  </a:solidFill>
                  <a:effectLst/>
                  <a:latin typeface="Orsted Sans Office" panose="00000500000000000000" pitchFamily="2" charset="0"/>
                </a:rPr>
                <a:t>A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38" name="Line 1627">
              <a:extLst>
                <a:ext uri="{FF2B5EF4-FFF2-40B4-BE49-F238E27FC236}">
                  <a16:creationId xmlns:a16="http://schemas.microsoft.com/office/drawing/2014/main" id="{FAE16379-22E6-416A-81EF-F30F4D6ABB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48" y="1220"/>
              <a:ext cx="0" cy="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9" name="Line 1628">
              <a:extLst>
                <a:ext uri="{FF2B5EF4-FFF2-40B4-BE49-F238E27FC236}">
                  <a16:creationId xmlns:a16="http://schemas.microsoft.com/office/drawing/2014/main" id="{DAAEDCB2-9787-4B81-9A10-B1207CFC83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10" y="1132"/>
              <a:ext cx="0" cy="0"/>
            </a:xfrm>
            <a:prstGeom prst="line">
              <a:avLst/>
            </a:prstGeom>
            <a:noFill/>
            <a:ln w="11113" cap="flat">
              <a:solidFill>
                <a:srgbClr val="32A8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0" name="Rectangle 1629">
              <a:extLst>
                <a:ext uri="{FF2B5EF4-FFF2-40B4-BE49-F238E27FC236}">
                  <a16:creationId xmlns:a16="http://schemas.microsoft.com/office/drawing/2014/main" id="{39081931-97DD-477B-9D45-32C5708C0C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05" y="1133"/>
              <a:ext cx="5" cy="5"/>
            </a:xfrm>
            <a:prstGeom prst="rect">
              <a:avLst/>
            </a:prstGeom>
            <a:solidFill>
              <a:srgbClr val="54A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1" name="Freeform 1630">
              <a:extLst>
                <a:ext uri="{FF2B5EF4-FFF2-40B4-BE49-F238E27FC236}">
                  <a16:creationId xmlns:a16="http://schemas.microsoft.com/office/drawing/2014/main" id="{DEE223DD-695D-49F0-BE70-83DF5A6C9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4" y="2345"/>
              <a:ext cx="66" cy="55"/>
            </a:xfrm>
            <a:custGeom>
              <a:avLst/>
              <a:gdLst>
                <a:gd name="T0" fmla="*/ 38 w 42"/>
                <a:gd name="T1" fmla="*/ 31 h 35"/>
                <a:gd name="T2" fmla="*/ 8 w 42"/>
                <a:gd name="T3" fmla="*/ 34 h 35"/>
                <a:gd name="T4" fmla="*/ 4 w 42"/>
                <a:gd name="T5" fmla="*/ 31 h 35"/>
                <a:gd name="T6" fmla="*/ 1 w 42"/>
                <a:gd name="T7" fmla="*/ 8 h 35"/>
                <a:gd name="T8" fmla="*/ 4 w 42"/>
                <a:gd name="T9" fmla="*/ 4 h 35"/>
                <a:gd name="T10" fmla="*/ 35 w 42"/>
                <a:gd name="T11" fmla="*/ 0 h 35"/>
                <a:gd name="T12" fmla="*/ 39 w 42"/>
                <a:gd name="T13" fmla="*/ 3 h 35"/>
                <a:gd name="T14" fmla="*/ 42 w 42"/>
                <a:gd name="T15" fmla="*/ 26 h 35"/>
                <a:gd name="T16" fmla="*/ 38 w 42"/>
                <a:gd name="T17" fmla="*/ 3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35">
                  <a:moveTo>
                    <a:pt x="38" y="31"/>
                  </a:moveTo>
                  <a:cubicBezTo>
                    <a:pt x="8" y="34"/>
                    <a:pt x="8" y="34"/>
                    <a:pt x="8" y="34"/>
                  </a:cubicBezTo>
                  <a:cubicBezTo>
                    <a:pt x="6" y="35"/>
                    <a:pt x="4" y="33"/>
                    <a:pt x="4" y="31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6"/>
                    <a:pt x="2" y="4"/>
                    <a:pt x="4" y="4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9" y="1"/>
                    <a:pt x="39" y="3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9"/>
                    <a:pt x="40" y="30"/>
                    <a:pt x="38" y="31"/>
                  </a:cubicBezTo>
                  <a:close/>
                </a:path>
              </a:pathLst>
            </a:custGeom>
            <a:solidFill>
              <a:srgbClr val="9FAD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2" name="Rectangle 1631">
              <a:extLst>
                <a:ext uri="{FF2B5EF4-FFF2-40B4-BE49-F238E27FC236}">
                  <a16:creationId xmlns:a16="http://schemas.microsoft.com/office/drawing/2014/main" id="{0EDACBB6-8779-4DC5-B2E3-E0C8B089BA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6" y="1377"/>
              <a:ext cx="434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Empire Wind 1 </a:t>
              </a:r>
              <a:r>
                <a:rPr kumimoji="0" lang="en-US" altLang="en-US" sz="500" b="1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816 MW</a:t>
              </a:r>
              <a:endPara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44" name="Rectangle 1633">
              <a:extLst>
                <a:ext uri="{FF2B5EF4-FFF2-40B4-BE49-F238E27FC236}">
                  <a16:creationId xmlns:a16="http://schemas.microsoft.com/office/drawing/2014/main" id="{AD4739C2-7A21-487F-86D4-9A940B6252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6" y="1422"/>
              <a:ext cx="476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Empire Wind 2 </a:t>
              </a:r>
              <a:r>
                <a:rPr kumimoji="0" lang="en-US" altLang="en-US" sz="500" b="1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1,260 MW</a:t>
              </a:r>
              <a:endPara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46" name="Rectangle 1635">
              <a:extLst>
                <a:ext uri="{FF2B5EF4-FFF2-40B4-BE49-F238E27FC236}">
                  <a16:creationId xmlns:a16="http://schemas.microsoft.com/office/drawing/2014/main" id="{FFEF9067-85DF-490E-8A70-B447164845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4" y="1650"/>
              <a:ext cx="772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Atlantic Shores Offshore Wind </a:t>
              </a:r>
              <a:r>
                <a:rPr kumimoji="0" lang="en-US" altLang="en-US" sz="500" b="1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1,510 MW</a:t>
              </a:r>
              <a:endPara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48" name="Rectangle 1637">
              <a:extLst>
                <a:ext uri="{FF2B5EF4-FFF2-40B4-BE49-F238E27FC236}">
                  <a16:creationId xmlns:a16="http://schemas.microsoft.com/office/drawing/2014/main" id="{61D7164A-1BB1-495F-81FF-F0BE65DB90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8" y="1819"/>
              <a:ext cx="582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8ECDC8"/>
                  </a:solidFill>
                  <a:effectLst/>
                  <a:latin typeface="Orsted Sans" panose="00000500000000000000" pitchFamily="50" charset="0"/>
                </a:rPr>
                <a:t>Garden State Offshore Energ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61" name="Rectangle 1650">
              <a:extLst>
                <a:ext uri="{FF2B5EF4-FFF2-40B4-BE49-F238E27FC236}">
                  <a16:creationId xmlns:a16="http://schemas.microsoft.com/office/drawing/2014/main" id="{80831408-1625-486C-A570-C918E84161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8" y="1864"/>
              <a:ext cx="302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8ECDC8"/>
                  </a:solidFill>
                  <a:effectLst/>
                  <a:latin typeface="Orsted Sans" panose="00000500000000000000" pitchFamily="50" charset="0"/>
                </a:rPr>
                <a:t>Skipjack Wind 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63" name="Rectangle 1652">
              <a:extLst>
                <a:ext uri="{FF2B5EF4-FFF2-40B4-BE49-F238E27FC236}">
                  <a16:creationId xmlns:a16="http://schemas.microsoft.com/office/drawing/2014/main" id="{257499DE-60E7-43C9-9822-E7880BD49A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8" y="1908"/>
              <a:ext cx="458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54A6DB"/>
                  </a:solidFill>
                  <a:effectLst/>
                  <a:latin typeface="Orsted Sans" panose="00000500000000000000" pitchFamily="50" charset="0"/>
                </a:rPr>
                <a:t>Skipjack Wind 1 </a:t>
              </a:r>
              <a:r>
                <a:rPr kumimoji="0" lang="en-US" altLang="en-US" sz="500" b="1" i="0" u="none" strike="noStrike" cap="none" normalizeH="0" baseline="0">
                  <a:ln>
                    <a:noFill/>
                  </a:ln>
                  <a:solidFill>
                    <a:srgbClr val="54A6DB"/>
                  </a:solidFill>
                  <a:effectLst/>
                  <a:latin typeface="Orsted Sans" panose="00000500000000000000" pitchFamily="50" charset="0"/>
                </a:rPr>
                <a:t>120 MW</a:t>
              </a:r>
              <a:endPara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69" name="Rectangle 1658">
              <a:extLst>
                <a:ext uri="{FF2B5EF4-FFF2-40B4-BE49-F238E27FC236}">
                  <a16:creationId xmlns:a16="http://schemas.microsoft.com/office/drawing/2014/main" id="{E6E9CB03-17D5-435F-9575-E7E727FACB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4" y="1952"/>
              <a:ext cx="323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 err="1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MarWin</a:t>
              </a: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 </a:t>
              </a:r>
              <a:r>
                <a:rPr kumimoji="0" lang="en-US" altLang="en-US" sz="500" b="1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269 MW</a:t>
              </a:r>
              <a:endPara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71" name="Rectangle 1660">
              <a:extLst>
                <a:ext uri="{FF2B5EF4-FFF2-40B4-BE49-F238E27FC236}">
                  <a16:creationId xmlns:a16="http://schemas.microsoft.com/office/drawing/2014/main" id="{9BAC6B2A-0228-4FC6-95A1-7174CA123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4" y="2324"/>
              <a:ext cx="735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Coastal Virginia Offshore Wind </a:t>
              </a:r>
              <a:r>
                <a:rPr kumimoji="0" lang="en-US" altLang="en-US" sz="500" b="1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12 MW</a:t>
              </a:r>
              <a:endPara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73" name="Rectangle 1662">
              <a:extLst>
                <a:ext uri="{FF2B5EF4-FFF2-40B4-BE49-F238E27FC236}">
                  <a16:creationId xmlns:a16="http://schemas.microsoft.com/office/drawing/2014/main" id="{A871F64D-B041-4313-BACE-7D74B93B0F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4" y="2369"/>
              <a:ext cx="882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Unnamed Dominion Energy Project </a:t>
              </a:r>
              <a:r>
                <a:rPr kumimoji="0" lang="en-US" altLang="en-US" sz="500" b="1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2,640 MW</a:t>
              </a:r>
              <a:endPara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75" name="Rectangle 1664">
              <a:extLst>
                <a:ext uri="{FF2B5EF4-FFF2-40B4-BE49-F238E27FC236}">
                  <a16:creationId xmlns:a16="http://schemas.microsoft.com/office/drawing/2014/main" id="{6F4D27CF-A002-4C7E-B2F6-E19B2B7EDE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6" y="2517"/>
              <a:ext cx="398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Kitty Hawk </a:t>
              </a:r>
              <a:r>
                <a:rPr kumimoji="0" lang="en-US" altLang="en-US" sz="500" b="1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800 MW</a:t>
              </a:r>
              <a:endPara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77" name="Rectangle 1666">
              <a:extLst>
                <a:ext uri="{FF2B5EF4-FFF2-40B4-BE49-F238E27FC236}">
                  <a16:creationId xmlns:a16="http://schemas.microsoft.com/office/drawing/2014/main" id="{C42CDFF7-AD9E-4136-9154-39EC78466A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6" y="1120"/>
              <a:ext cx="488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Vineyard Wind 1 </a:t>
              </a:r>
              <a:r>
                <a:rPr kumimoji="0" lang="en-US" altLang="en-US" sz="500" b="1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800 MW</a:t>
              </a:r>
              <a:endPara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79" name="Rectangle 1668">
              <a:extLst>
                <a:ext uri="{FF2B5EF4-FFF2-40B4-BE49-F238E27FC236}">
                  <a16:creationId xmlns:a16="http://schemas.microsoft.com/office/drawing/2014/main" id="{FE8D9404-4B54-4D26-B5FB-F3DF3F100E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3" y="1245"/>
              <a:ext cx="314" cy="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Vineyard Win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80" name="Rectangle 1669">
              <a:extLst>
                <a:ext uri="{FF2B5EF4-FFF2-40B4-BE49-F238E27FC236}">
                  <a16:creationId xmlns:a16="http://schemas.microsoft.com/office/drawing/2014/main" id="{64CCBAD5-04C5-46D0-8576-861C03B5BF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3" y="1164"/>
              <a:ext cx="453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Beacon Wind </a:t>
              </a:r>
              <a:r>
                <a:rPr kumimoji="0" lang="en-US" altLang="en-US" sz="500" b="1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1,230 MW</a:t>
              </a:r>
            </a:p>
          </p:txBody>
        </p:sp>
        <p:sp>
          <p:nvSpPr>
            <p:cNvPr id="1682" name="Rectangle 1671">
              <a:extLst>
                <a:ext uri="{FF2B5EF4-FFF2-40B4-BE49-F238E27FC236}">
                  <a16:creationId xmlns:a16="http://schemas.microsoft.com/office/drawing/2014/main" id="{17B4F0CF-B6D1-4007-BDCA-66E95FA1FB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0" y="1203"/>
              <a:ext cx="499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Mayflower Wind </a:t>
              </a:r>
              <a:r>
                <a:rPr kumimoji="0" lang="en-US" altLang="en-US" sz="500" b="1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804 MW</a:t>
              </a:r>
            </a:p>
          </p:txBody>
        </p:sp>
        <p:sp>
          <p:nvSpPr>
            <p:cNvPr id="1684" name="Rectangle 1673">
              <a:extLst>
                <a:ext uri="{FF2B5EF4-FFF2-40B4-BE49-F238E27FC236}">
                  <a16:creationId xmlns:a16="http://schemas.microsoft.com/office/drawing/2014/main" id="{8C7D2C5D-8032-4DA8-876B-D8148034E0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4" y="1255"/>
              <a:ext cx="466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Park City Wind </a:t>
              </a:r>
              <a:r>
                <a:rPr kumimoji="0" lang="en-US" altLang="en-US" sz="500" b="1" i="0" u="none" strike="noStrike" cap="none" normalizeH="0" baseline="0">
                  <a:ln>
                    <a:noFill/>
                  </a:ln>
                  <a:solidFill>
                    <a:srgbClr val="9FADB6"/>
                  </a:solidFill>
                  <a:effectLst/>
                  <a:latin typeface="Orsted Sans" panose="00000500000000000000" pitchFamily="50" charset="0"/>
                </a:rPr>
                <a:t>804 MW</a:t>
              </a:r>
            </a:p>
          </p:txBody>
        </p:sp>
        <p:sp>
          <p:nvSpPr>
            <p:cNvPr id="1686" name="Freeform 1675">
              <a:extLst>
                <a:ext uri="{FF2B5EF4-FFF2-40B4-BE49-F238E27FC236}">
                  <a16:creationId xmlns:a16="http://schemas.microsoft.com/office/drawing/2014/main" id="{43D33AB5-70B7-48CE-9EF3-E6F4757F2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0" y="1129"/>
              <a:ext cx="127" cy="127"/>
            </a:xfrm>
            <a:custGeom>
              <a:avLst/>
              <a:gdLst>
                <a:gd name="T0" fmla="*/ 81 w 81"/>
                <a:gd name="T1" fmla="*/ 2 h 81"/>
                <a:gd name="T2" fmla="*/ 79 w 81"/>
                <a:gd name="T3" fmla="*/ 4 h 81"/>
                <a:gd name="T4" fmla="*/ 75 w 81"/>
                <a:gd name="T5" fmla="*/ 6 h 81"/>
                <a:gd name="T6" fmla="*/ 73 w 81"/>
                <a:gd name="T7" fmla="*/ 8 h 81"/>
                <a:gd name="T8" fmla="*/ 71 w 81"/>
                <a:gd name="T9" fmla="*/ 11 h 81"/>
                <a:gd name="T10" fmla="*/ 69 w 81"/>
                <a:gd name="T11" fmla="*/ 13 h 81"/>
                <a:gd name="T12" fmla="*/ 67 w 81"/>
                <a:gd name="T13" fmla="*/ 15 h 81"/>
                <a:gd name="T14" fmla="*/ 65 w 81"/>
                <a:gd name="T15" fmla="*/ 16 h 81"/>
                <a:gd name="T16" fmla="*/ 63 w 81"/>
                <a:gd name="T17" fmla="*/ 19 h 81"/>
                <a:gd name="T18" fmla="*/ 61 w 81"/>
                <a:gd name="T19" fmla="*/ 21 h 81"/>
                <a:gd name="T20" fmla="*/ 59 w 81"/>
                <a:gd name="T21" fmla="*/ 23 h 81"/>
                <a:gd name="T22" fmla="*/ 57 w 81"/>
                <a:gd name="T23" fmla="*/ 25 h 81"/>
                <a:gd name="T24" fmla="*/ 55 w 81"/>
                <a:gd name="T25" fmla="*/ 27 h 81"/>
                <a:gd name="T26" fmla="*/ 53 w 81"/>
                <a:gd name="T27" fmla="*/ 29 h 81"/>
                <a:gd name="T28" fmla="*/ 51 w 81"/>
                <a:gd name="T29" fmla="*/ 31 h 81"/>
                <a:gd name="T30" fmla="*/ 49 w 81"/>
                <a:gd name="T31" fmla="*/ 33 h 81"/>
                <a:gd name="T32" fmla="*/ 46 w 81"/>
                <a:gd name="T33" fmla="*/ 35 h 81"/>
                <a:gd name="T34" fmla="*/ 45 w 81"/>
                <a:gd name="T35" fmla="*/ 37 h 81"/>
                <a:gd name="T36" fmla="*/ 43 w 81"/>
                <a:gd name="T37" fmla="*/ 39 h 81"/>
                <a:gd name="T38" fmla="*/ 40 w 81"/>
                <a:gd name="T39" fmla="*/ 41 h 81"/>
                <a:gd name="T40" fmla="*/ 38 w 81"/>
                <a:gd name="T41" fmla="*/ 43 h 81"/>
                <a:gd name="T42" fmla="*/ 36 w 81"/>
                <a:gd name="T43" fmla="*/ 45 h 81"/>
                <a:gd name="T44" fmla="*/ 34 w 81"/>
                <a:gd name="T45" fmla="*/ 47 h 81"/>
                <a:gd name="T46" fmla="*/ 32 w 81"/>
                <a:gd name="T47" fmla="*/ 49 h 81"/>
                <a:gd name="T48" fmla="*/ 30 w 81"/>
                <a:gd name="T49" fmla="*/ 51 h 81"/>
                <a:gd name="T50" fmla="*/ 28 w 81"/>
                <a:gd name="T51" fmla="*/ 53 h 81"/>
                <a:gd name="T52" fmla="*/ 6 w 81"/>
                <a:gd name="T53" fmla="*/ 55 h 81"/>
                <a:gd name="T54" fmla="*/ 0 w 81"/>
                <a:gd name="T55" fmla="*/ 81 h 81"/>
                <a:gd name="T56" fmla="*/ 0 w 81"/>
                <a:gd name="T57" fmla="*/ 65 h 81"/>
                <a:gd name="T58" fmla="*/ 0 w 81"/>
                <a:gd name="T59" fmla="*/ 57 h 81"/>
                <a:gd name="T60" fmla="*/ 0 w 81"/>
                <a:gd name="T61" fmla="*/ 47 h 81"/>
                <a:gd name="T62" fmla="*/ 0 w 81"/>
                <a:gd name="T63" fmla="*/ 33 h 81"/>
                <a:gd name="T64" fmla="*/ 0 w 81"/>
                <a:gd name="T65" fmla="*/ 25 h 81"/>
                <a:gd name="T66" fmla="*/ 32 w 81"/>
                <a:gd name="T67" fmla="*/ 17 h 81"/>
                <a:gd name="T68" fmla="*/ 36 w 81"/>
                <a:gd name="T69" fmla="*/ 14 h 81"/>
                <a:gd name="T70" fmla="*/ 40 w 81"/>
                <a:gd name="T71" fmla="*/ 13 h 81"/>
                <a:gd name="T72" fmla="*/ 41 w 81"/>
                <a:gd name="T73" fmla="*/ 6 h 81"/>
                <a:gd name="T74" fmla="*/ 55 w 81"/>
                <a:gd name="T75" fmla="*/ 4 h 81"/>
                <a:gd name="T76" fmla="*/ 59 w 81"/>
                <a:gd name="T77" fmla="*/ 2 h 81"/>
                <a:gd name="T78" fmla="*/ 63 w 81"/>
                <a:gd name="T7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1" h="81">
                  <a:moveTo>
                    <a:pt x="81" y="0"/>
                  </a:moveTo>
                  <a:cubicBezTo>
                    <a:pt x="81" y="1"/>
                    <a:pt x="81" y="2"/>
                    <a:pt x="81" y="2"/>
                  </a:cubicBezTo>
                  <a:cubicBezTo>
                    <a:pt x="80" y="2"/>
                    <a:pt x="80" y="2"/>
                    <a:pt x="79" y="2"/>
                  </a:cubicBezTo>
                  <a:cubicBezTo>
                    <a:pt x="79" y="3"/>
                    <a:pt x="79" y="4"/>
                    <a:pt x="79" y="4"/>
                  </a:cubicBezTo>
                  <a:cubicBezTo>
                    <a:pt x="77" y="4"/>
                    <a:pt x="77" y="4"/>
                    <a:pt x="77" y="6"/>
                  </a:cubicBezTo>
                  <a:cubicBezTo>
                    <a:pt x="76" y="6"/>
                    <a:pt x="76" y="6"/>
                    <a:pt x="75" y="6"/>
                  </a:cubicBezTo>
                  <a:cubicBezTo>
                    <a:pt x="75" y="7"/>
                    <a:pt x="75" y="8"/>
                    <a:pt x="75" y="8"/>
                  </a:cubicBezTo>
                  <a:cubicBezTo>
                    <a:pt x="74" y="8"/>
                    <a:pt x="74" y="8"/>
                    <a:pt x="73" y="8"/>
                  </a:cubicBezTo>
                  <a:cubicBezTo>
                    <a:pt x="73" y="9"/>
                    <a:pt x="73" y="10"/>
                    <a:pt x="73" y="10"/>
                  </a:cubicBezTo>
                  <a:cubicBezTo>
                    <a:pt x="72" y="10"/>
                    <a:pt x="72" y="10"/>
                    <a:pt x="71" y="11"/>
                  </a:cubicBezTo>
                  <a:cubicBezTo>
                    <a:pt x="71" y="11"/>
                    <a:pt x="71" y="12"/>
                    <a:pt x="71" y="12"/>
                  </a:cubicBezTo>
                  <a:cubicBezTo>
                    <a:pt x="70" y="13"/>
                    <a:pt x="69" y="13"/>
                    <a:pt x="69" y="13"/>
                  </a:cubicBezTo>
                  <a:cubicBezTo>
                    <a:pt x="69" y="13"/>
                    <a:pt x="69" y="14"/>
                    <a:pt x="69" y="14"/>
                  </a:cubicBezTo>
                  <a:cubicBezTo>
                    <a:pt x="68" y="14"/>
                    <a:pt x="68" y="14"/>
                    <a:pt x="67" y="15"/>
                  </a:cubicBezTo>
                  <a:cubicBezTo>
                    <a:pt x="67" y="15"/>
                    <a:pt x="67" y="16"/>
                    <a:pt x="67" y="16"/>
                  </a:cubicBezTo>
                  <a:cubicBezTo>
                    <a:pt x="66" y="16"/>
                    <a:pt x="65" y="16"/>
                    <a:pt x="65" y="16"/>
                  </a:cubicBezTo>
                  <a:cubicBezTo>
                    <a:pt x="65" y="17"/>
                    <a:pt x="65" y="18"/>
                    <a:pt x="65" y="19"/>
                  </a:cubicBezTo>
                  <a:cubicBezTo>
                    <a:pt x="64" y="19"/>
                    <a:pt x="63" y="19"/>
                    <a:pt x="63" y="19"/>
                  </a:cubicBezTo>
                  <a:cubicBezTo>
                    <a:pt x="63" y="19"/>
                    <a:pt x="63" y="20"/>
                    <a:pt x="63" y="21"/>
                  </a:cubicBezTo>
                  <a:cubicBezTo>
                    <a:pt x="62" y="21"/>
                    <a:pt x="61" y="21"/>
                    <a:pt x="61" y="21"/>
                  </a:cubicBezTo>
                  <a:cubicBezTo>
                    <a:pt x="61" y="21"/>
                    <a:pt x="61" y="22"/>
                    <a:pt x="61" y="23"/>
                  </a:cubicBezTo>
                  <a:cubicBezTo>
                    <a:pt x="60" y="23"/>
                    <a:pt x="59" y="23"/>
                    <a:pt x="59" y="23"/>
                  </a:cubicBezTo>
                  <a:cubicBezTo>
                    <a:pt x="59" y="23"/>
                    <a:pt x="59" y="24"/>
                    <a:pt x="59" y="25"/>
                  </a:cubicBezTo>
                  <a:cubicBezTo>
                    <a:pt x="58" y="25"/>
                    <a:pt x="57" y="25"/>
                    <a:pt x="57" y="25"/>
                  </a:cubicBezTo>
                  <a:cubicBezTo>
                    <a:pt x="57" y="25"/>
                    <a:pt x="57" y="26"/>
                    <a:pt x="57" y="27"/>
                  </a:cubicBezTo>
                  <a:cubicBezTo>
                    <a:pt x="56" y="27"/>
                    <a:pt x="55" y="27"/>
                    <a:pt x="55" y="27"/>
                  </a:cubicBezTo>
                  <a:cubicBezTo>
                    <a:pt x="55" y="27"/>
                    <a:pt x="55" y="28"/>
                    <a:pt x="55" y="29"/>
                  </a:cubicBezTo>
                  <a:cubicBezTo>
                    <a:pt x="54" y="29"/>
                    <a:pt x="53" y="29"/>
                    <a:pt x="53" y="29"/>
                  </a:cubicBezTo>
                  <a:cubicBezTo>
                    <a:pt x="53" y="29"/>
                    <a:pt x="53" y="30"/>
                    <a:pt x="53" y="31"/>
                  </a:cubicBezTo>
                  <a:cubicBezTo>
                    <a:pt x="52" y="31"/>
                    <a:pt x="51" y="31"/>
                    <a:pt x="51" y="31"/>
                  </a:cubicBezTo>
                  <a:cubicBezTo>
                    <a:pt x="51" y="31"/>
                    <a:pt x="50" y="32"/>
                    <a:pt x="50" y="33"/>
                  </a:cubicBezTo>
                  <a:cubicBezTo>
                    <a:pt x="50" y="33"/>
                    <a:pt x="49" y="33"/>
                    <a:pt x="49" y="33"/>
                  </a:cubicBezTo>
                  <a:cubicBezTo>
                    <a:pt x="49" y="33"/>
                    <a:pt x="49" y="34"/>
                    <a:pt x="49" y="35"/>
                  </a:cubicBezTo>
                  <a:cubicBezTo>
                    <a:pt x="48" y="35"/>
                    <a:pt x="47" y="35"/>
                    <a:pt x="46" y="35"/>
                  </a:cubicBezTo>
                  <a:cubicBezTo>
                    <a:pt x="46" y="36"/>
                    <a:pt x="46" y="36"/>
                    <a:pt x="46" y="37"/>
                  </a:cubicBezTo>
                  <a:cubicBezTo>
                    <a:pt x="46" y="37"/>
                    <a:pt x="45" y="37"/>
                    <a:pt x="45" y="37"/>
                  </a:cubicBezTo>
                  <a:cubicBezTo>
                    <a:pt x="44" y="38"/>
                    <a:pt x="44" y="38"/>
                    <a:pt x="44" y="39"/>
                  </a:cubicBezTo>
                  <a:cubicBezTo>
                    <a:pt x="44" y="39"/>
                    <a:pt x="43" y="39"/>
                    <a:pt x="43" y="39"/>
                  </a:cubicBezTo>
                  <a:cubicBezTo>
                    <a:pt x="42" y="40"/>
                    <a:pt x="42" y="40"/>
                    <a:pt x="42" y="41"/>
                  </a:cubicBezTo>
                  <a:cubicBezTo>
                    <a:pt x="42" y="41"/>
                    <a:pt x="41" y="41"/>
                    <a:pt x="40" y="41"/>
                  </a:cubicBezTo>
                  <a:cubicBezTo>
                    <a:pt x="40" y="42"/>
                    <a:pt x="40" y="42"/>
                    <a:pt x="40" y="43"/>
                  </a:cubicBezTo>
                  <a:cubicBezTo>
                    <a:pt x="40" y="43"/>
                    <a:pt x="39" y="43"/>
                    <a:pt x="38" y="43"/>
                  </a:cubicBezTo>
                  <a:cubicBezTo>
                    <a:pt x="38" y="44"/>
                    <a:pt x="38" y="44"/>
                    <a:pt x="38" y="45"/>
                  </a:cubicBezTo>
                  <a:cubicBezTo>
                    <a:pt x="38" y="45"/>
                    <a:pt x="37" y="45"/>
                    <a:pt x="36" y="45"/>
                  </a:cubicBezTo>
                  <a:cubicBezTo>
                    <a:pt x="36" y="46"/>
                    <a:pt x="36" y="46"/>
                    <a:pt x="36" y="47"/>
                  </a:cubicBezTo>
                  <a:cubicBezTo>
                    <a:pt x="36" y="47"/>
                    <a:pt x="35" y="47"/>
                    <a:pt x="34" y="47"/>
                  </a:cubicBezTo>
                  <a:cubicBezTo>
                    <a:pt x="34" y="48"/>
                    <a:pt x="34" y="48"/>
                    <a:pt x="34" y="49"/>
                  </a:cubicBezTo>
                  <a:cubicBezTo>
                    <a:pt x="34" y="49"/>
                    <a:pt x="33" y="49"/>
                    <a:pt x="32" y="49"/>
                  </a:cubicBezTo>
                  <a:cubicBezTo>
                    <a:pt x="32" y="50"/>
                    <a:pt x="32" y="50"/>
                    <a:pt x="32" y="51"/>
                  </a:cubicBezTo>
                  <a:cubicBezTo>
                    <a:pt x="32" y="51"/>
                    <a:pt x="31" y="51"/>
                    <a:pt x="30" y="51"/>
                  </a:cubicBezTo>
                  <a:cubicBezTo>
                    <a:pt x="30" y="52"/>
                    <a:pt x="30" y="52"/>
                    <a:pt x="30" y="53"/>
                  </a:cubicBezTo>
                  <a:cubicBezTo>
                    <a:pt x="29" y="53"/>
                    <a:pt x="29" y="53"/>
                    <a:pt x="28" y="53"/>
                  </a:cubicBezTo>
                  <a:cubicBezTo>
                    <a:pt x="28" y="54"/>
                    <a:pt x="28" y="54"/>
                    <a:pt x="28" y="55"/>
                  </a:cubicBezTo>
                  <a:cubicBezTo>
                    <a:pt x="21" y="55"/>
                    <a:pt x="13" y="55"/>
                    <a:pt x="6" y="55"/>
                  </a:cubicBezTo>
                  <a:cubicBezTo>
                    <a:pt x="6" y="64"/>
                    <a:pt x="6" y="73"/>
                    <a:pt x="6" y="81"/>
                  </a:cubicBezTo>
                  <a:cubicBezTo>
                    <a:pt x="4" y="81"/>
                    <a:pt x="2" y="81"/>
                    <a:pt x="0" y="81"/>
                  </a:cubicBezTo>
                  <a:cubicBezTo>
                    <a:pt x="0" y="76"/>
                    <a:pt x="0" y="71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63"/>
                    <a:pt x="0" y="61"/>
                    <a:pt x="0" y="60"/>
                  </a:cubicBezTo>
                  <a:cubicBezTo>
                    <a:pt x="0" y="59"/>
                    <a:pt x="0" y="58"/>
                    <a:pt x="0" y="57"/>
                  </a:cubicBezTo>
                  <a:cubicBezTo>
                    <a:pt x="0" y="54"/>
                    <a:pt x="0" y="52"/>
                    <a:pt x="0" y="49"/>
                  </a:cubicBezTo>
                  <a:cubicBezTo>
                    <a:pt x="0" y="49"/>
                    <a:pt x="0" y="48"/>
                    <a:pt x="0" y="47"/>
                  </a:cubicBezTo>
                  <a:cubicBezTo>
                    <a:pt x="0" y="45"/>
                    <a:pt x="0" y="43"/>
                    <a:pt x="0" y="41"/>
                  </a:cubicBezTo>
                  <a:cubicBezTo>
                    <a:pt x="0" y="38"/>
                    <a:pt x="0" y="36"/>
                    <a:pt x="0" y="33"/>
                  </a:cubicBezTo>
                  <a:cubicBezTo>
                    <a:pt x="0" y="33"/>
                    <a:pt x="0" y="32"/>
                    <a:pt x="0" y="32"/>
                  </a:cubicBezTo>
                  <a:cubicBezTo>
                    <a:pt x="0" y="30"/>
                    <a:pt x="0" y="27"/>
                    <a:pt x="0" y="25"/>
                  </a:cubicBezTo>
                  <a:cubicBezTo>
                    <a:pt x="11" y="25"/>
                    <a:pt x="22" y="25"/>
                    <a:pt x="32" y="25"/>
                  </a:cubicBezTo>
                  <a:cubicBezTo>
                    <a:pt x="32" y="22"/>
                    <a:pt x="32" y="19"/>
                    <a:pt x="32" y="17"/>
                  </a:cubicBezTo>
                  <a:cubicBezTo>
                    <a:pt x="34" y="16"/>
                    <a:pt x="34" y="16"/>
                    <a:pt x="35" y="14"/>
                  </a:cubicBezTo>
                  <a:cubicBezTo>
                    <a:pt x="35" y="14"/>
                    <a:pt x="36" y="14"/>
                    <a:pt x="36" y="14"/>
                  </a:cubicBezTo>
                  <a:cubicBezTo>
                    <a:pt x="36" y="14"/>
                    <a:pt x="36" y="13"/>
                    <a:pt x="36" y="13"/>
                  </a:cubicBezTo>
                  <a:cubicBezTo>
                    <a:pt x="38" y="13"/>
                    <a:pt x="39" y="12"/>
                    <a:pt x="40" y="13"/>
                  </a:cubicBezTo>
                  <a:cubicBezTo>
                    <a:pt x="40" y="13"/>
                    <a:pt x="41" y="12"/>
                    <a:pt x="41" y="12"/>
                  </a:cubicBezTo>
                  <a:cubicBezTo>
                    <a:pt x="41" y="10"/>
                    <a:pt x="41" y="8"/>
                    <a:pt x="41" y="6"/>
                  </a:cubicBezTo>
                  <a:cubicBezTo>
                    <a:pt x="45" y="6"/>
                    <a:pt x="50" y="6"/>
                    <a:pt x="55" y="6"/>
                  </a:cubicBezTo>
                  <a:cubicBezTo>
                    <a:pt x="55" y="6"/>
                    <a:pt x="55" y="5"/>
                    <a:pt x="55" y="4"/>
                  </a:cubicBezTo>
                  <a:cubicBezTo>
                    <a:pt x="56" y="4"/>
                    <a:pt x="57" y="4"/>
                    <a:pt x="59" y="4"/>
                  </a:cubicBezTo>
                  <a:cubicBezTo>
                    <a:pt x="59" y="4"/>
                    <a:pt x="59" y="3"/>
                    <a:pt x="59" y="2"/>
                  </a:cubicBezTo>
                  <a:cubicBezTo>
                    <a:pt x="60" y="2"/>
                    <a:pt x="61" y="2"/>
                    <a:pt x="63" y="2"/>
                  </a:cubicBezTo>
                  <a:cubicBezTo>
                    <a:pt x="63" y="2"/>
                    <a:pt x="63" y="1"/>
                    <a:pt x="63" y="0"/>
                  </a:cubicBezTo>
                  <a:cubicBezTo>
                    <a:pt x="69" y="0"/>
                    <a:pt x="75" y="0"/>
                    <a:pt x="81" y="0"/>
                  </a:cubicBezTo>
                  <a:close/>
                </a:path>
              </a:pathLst>
            </a:custGeom>
            <a:solidFill>
              <a:srgbClr val="54A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7" name="Freeform 1676">
              <a:extLst>
                <a:ext uri="{FF2B5EF4-FFF2-40B4-BE49-F238E27FC236}">
                  <a16:creationId xmlns:a16="http://schemas.microsoft.com/office/drawing/2014/main" id="{FB036B44-1E58-4BAD-B135-1E031CEDF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0" y="1193"/>
              <a:ext cx="0" cy="12"/>
            </a:xfrm>
            <a:custGeom>
              <a:avLst/>
              <a:gdLst>
                <a:gd name="T0" fmla="*/ 0 h 8"/>
                <a:gd name="T1" fmla="*/ 6 h 8"/>
                <a:gd name="T2" fmla="*/ 8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  <a:close/>
                </a:path>
              </a:pathLst>
            </a:custGeom>
            <a:solidFill>
              <a:srgbClr val="B0B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8" name="Freeform 1677">
              <a:extLst>
                <a:ext uri="{FF2B5EF4-FFF2-40B4-BE49-F238E27FC236}">
                  <a16:creationId xmlns:a16="http://schemas.microsoft.com/office/drawing/2014/main" id="{9E0FDFCE-072F-4A0C-BD98-9257F495AF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0" y="1218"/>
              <a:ext cx="0" cy="13"/>
            </a:xfrm>
            <a:custGeom>
              <a:avLst/>
              <a:gdLst>
                <a:gd name="T0" fmla="*/ 0 h 8"/>
                <a:gd name="T1" fmla="*/ 3 h 8"/>
                <a:gd name="T2" fmla="*/ 8 h 8"/>
                <a:gd name="T3" fmla="*/ 8 h 8"/>
                <a:gd name="T4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0" y="3"/>
                    <a:pt x="0" y="0"/>
                  </a:cubicBezTo>
                  <a:close/>
                </a:path>
              </a:pathLst>
            </a:custGeom>
            <a:solidFill>
              <a:srgbClr val="B0B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9" name="Freeform 1678">
              <a:extLst>
                <a:ext uri="{FF2B5EF4-FFF2-40B4-BE49-F238E27FC236}">
                  <a16:creationId xmlns:a16="http://schemas.microsoft.com/office/drawing/2014/main" id="{E1B84FD0-CD3A-446E-AC75-819D6F4DAE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0" y="1138"/>
              <a:ext cx="10" cy="11"/>
            </a:xfrm>
            <a:custGeom>
              <a:avLst/>
              <a:gdLst>
                <a:gd name="T0" fmla="*/ 2 w 6"/>
                <a:gd name="T1" fmla="*/ 2 h 7"/>
                <a:gd name="T2" fmla="*/ 2 w 6"/>
                <a:gd name="T3" fmla="*/ 0 h 7"/>
                <a:gd name="T4" fmla="*/ 6 w 6"/>
                <a:gd name="T5" fmla="*/ 0 h 7"/>
                <a:gd name="T6" fmla="*/ 6 w 6"/>
                <a:gd name="T7" fmla="*/ 2 h 7"/>
                <a:gd name="T8" fmla="*/ 4 w 6"/>
                <a:gd name="T9" fmla="*/ 4 h 7"/>
                <a:gd name="T10" fmla="*/ 2 w 6"/>
                <a:gd name="T11" fmla="*/ 5 h 7"/>
                <a:gd name="T12" fmla="*/ 2 w 6"/>
                <a:gd name="T13" fmla="*/ 7 h 7"/>
                <a:gd name="T14" fmla="*/ 0 w 6"/>
                <a:gd name="T15" fmla="*/ 7 h 7"/>
                <a:gd name="T16" fmla="*/ 0 w 6"/>
                <a:gd name="T17" fmla="*/ 3 h 7"/>
                <a:gd name="T18" fmla="*/ 2 w 6"/>
                <a:gd name="T1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7">
                  <a:moveTo>
                    <a:pt x="2" y="2"/>
                  </a:moveTo>
                  <a:cubicBezTo>
                    <a:pt x="2" y="2"/>
                    <a:pt x="2" y="1"/>
                    <a:pt x="2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5" y="3"/>
                    <a:pt x="5" y="3"/>
                    <a:pt x="4" y="4"/>
                  </a:cubicBezTo>
                  <a:cubicBezTo>
                    <a:pt x="4" y="5"/>
                    <a:pt x="3" y="5"/>
                    <a:pt x="2" y="5"/>
                  </a:cubicBezTo>
                  <a:cubicBezTo>
                    <a:pt x="2" y="5"/>
                    <a:pt x="2" y="6"/>
                    <a:pt x="2" y="7"/>
                  </a:cubicBezTo>
                  <a:cubicBezTo>
                    <a:pt x="2" y="7"/>
                    <a:pt x="1" y="7"/>
                    <a:pt x="0" y="7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1" y="3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7A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0" name="Freeform 1679">
              <a:extLst>
                <a:ext uri="{FF2B5EF4-FFF2-40B4-BE49-F238E27FC236}">
                  <a16:creationId xmlns:a16="http://schemas.microsoft.com/office/drawing/2014/main" id="{B298FA20-6B90-43FC-83C5-874DD6B42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0" y="1129"/>
              <a:ext cx="105" cy="111"/>
            </a:xfrm>
            <a:custGeom>
              <a:avLst/>
              <a:gdLst>
                <a:gd name="T0" fmla="*/ 67 w 67"/>
                <a:gd name="T1" fmla="*/ 19 h 71"/>
                <a:gd name="T2" fmla="*/ 65 w 67"/>
                <a:gd name="T3" fmla="*/ 22 h 71"/>
                <a:gd name="T4" fmla="*/ 63 w 67"/>
                <a:gd name="T5" fmla="*/ 24 h 71"/>
                <a:gd name="T6" fmla="*/ 61 w 67"/>
                <a:gd name="T7" fmla="*/ 26 h 71"/>
                <a:gd name="T8" fmla="*/ 59 w 67"/>
                <a:gd name="T9" fmla="*/ 28 h 71"/>
                <a:gd name="T10" fmla="*/ 57 w 67"/>
                <a:gd name="T11" fmla="*/ 30 h 71"/>
                <a:gd name="T12" fmla="*/ 55 w 67"/>
                <a:gd name="T13" fmla="*/ 31 h 71"/>
                <a:gd name="T14" fmla="*/ 53 w 67"/>
                <a:gd name="T15" fmla="*/ 33 h 71"/>
                <a:gd name="T16" fmla="*/ 51 w 67"/>
                <a:gd name="T17" fmla="*/ 36 h 71"/>
                <a:gd name="T18" fmla="*/ 49 w 67"/>
                <a:gd name="T19" fmla="*/ 39 h 71"/>
                <a:gd name="T20" fmla="*/ 47 w 67"/>
                <a:gd name="T21" fmla="*/ 41 h 71"/>
                <a:gd name="T22" fmla="*/ 45 w 67"/>
                <a:gd name="T23" fmla="*/ 43 h 71"/>
                <a:gd name="T24" fmla="*/ 43 w 67"/>
                <a:gd name="T25" fmla="*/ 45 h 71"/>
                <a:gd name="T26" fmla="*/ 41 w 67"/>
                <a:gd name="T27" fmla="*/ 47 h 71"/>
                <a:gd name="T28" fmla="*/ 39 w 67"/>
                <a:gd name="T29" fmla="*/ 49 h 71"/>
                <a:gd name="T30" fmla="*/ 37 w 67"/>
                <a:gd name="T31" fmla="*/ 51 h 71"/>
                <a:gd name="T32" fmla="*/ 35 w 67"/>
                <a:gd name="T33" fmla="*/ 53 h 71"/>
                <a:gd name="T34" fmla="*/ 33 w 67"/>
                <a:gd name="T35" fmla="*/ 55 h 71"/>
                <a:gd name="T36" fmla="*/ 32 w 67"/>
                <a:gd name="T37" fmla="*/ 57 h 71"/>
                <a:gd name="T38" fmla="*/ 29 w 67"/>
                <a:gd name="T39" fmla="*/ 59 h 71"/>
                <a:gd name="T40" fmla="*/ 27 w 67"/>
                <a:gd name="T41" fmla="*/ 61 h 71"/>
                <a:gd name="T42" fmla="*/ 26 w 67"/>
                <a:gd name="T43" fmla="*/ 63 h 71"/>
                <a:gd name="T44" fmla="*/ 24 w 67"/>
                <a:gd name="T45" fmla="*/ 65 h 71"/>
                <a:gd name="T46" fmla="*/ 22 w 67"/>
                <a:gd name="T47" fmla="*/ 67 h 71"/>
                <a:gd name="T48" fmla="*/ 20 w 67"/>
                <a:gd name="T49" fmla="*/ 69 h 71"/>
                <a:gd name="T50" fmla="*/ 18 w 67"/>
                <a:gd name="T51" fmla="*/ 71 h 71"/>
                <a:gd name="T52" fmla="*/ 14 w 67"/>
                <a:gd name="T53" fmla="*/ 53 h 71"/>
                <a:gd name="T54" fmla="*/ 0 w 67"/>
                <a:gd name="T55" fmla="*/ 51 h 71"/>
                <a:gd name="T56" fmla="*/ 2 w 67"/>
                <a:gd name="T57" fmla="*/ 49 h 71"/>
                <a:gd name="T58" fmla="*/ 4 w 67"/>
                <a:gd name="T59" fmla="*/ 47 h 71"/>
                <a:gd name="T60" fmla="*/ 6 w 67"/>
                <a:gd name="T61" fmla="*/ 45 h 71"/>
                <a:gd name="T62" fmla="*/ 10 w 67"/>
                <a:gd name="T63" fmla="*/ 41 h 71"/>
                <a:gd name="T64" fmla="*/ 12 w 67"/>
                <a:gd name="T65" fmla="*/ 40 h 71"/>
                <a:gd name="T66" fmla="*/ 14 w 67"/>
                <a:gd name="T67" fmla="*/ 38 h 71"/>
                <a:gd name="T68" fmla="*/ 16 w 67"/>
                <a:gd name="T69" fmla="*/ 36 h 71"/>
                <a:gd name="T70" fmla="*/ 18 w 67"/>
                <a:gd name="T71" fmla="*/ 34 h 71"/>
                <a:gd name="T72" fmla="*/ 20 w 67"/>
                <a:gd name="T73" fmla="*/ 32 h 71"/>
                <a:gd name="T74" fmla="*/ 22 w 67"/>
                <a:gd name="T75" fmla="*/ 30 h 71"/>
                <a:gd name="T76" fmla="*/ 26 w 67"/>
                <a:gd name="T77" fmla="*/ 28 h 71"/>
                <a:gd name="T78" fmla="*/ 27 w 67"/>
                <a:gd name="T79" fmla="*/ 26 h 71"/>
                <a:gd name="T80" fmla="*/ 29 w 67"/>
                <a:gd name="T81" fmla="*/ 24 h 71"/>
                <a:gd name="T82" fmla="*/ 31 w 67"/>
                <a:gd name="T83" fmla="*/ 22 h 71"/>
                <a:gd name="T84" fmla="*/ 33 w 67"/>
                <a:gd name="T85" fmla="*/ 20 h 71"/>
                <a:gd name="T86" fmla="*/ 35 w 67"/>
                <a:gd name="T87" fmla="*/ 18 h 71"/>
                <a:gd name="T88" fmla="*/ 37 w 67"/>
                <a:gd name="T89" fmla="*/ 16 h 71"/>
                <a:gd name="T90" fmla="*/ 39 w 67"/>
                <a:gd name="T91" fmla="*/ 14 h 71"/>
                <a:gd name="T92" fmla="*/ 41 w 67"/>
                <a:gd name="T93" fmla="*/ 12 h 71"/>
                <a:gd name="T94" fmla="*/ 43 w 67"/>
                <a:gd name="T95" fmla="*/ 10 h 71"/>
                <a:gd name="T96" fmla="*/ 45 w 67"/>
                <a:gd name="T97" fmla="*/ 8 h 71"/>
                <a:gd name="T98" fmla="*/ 47 w 67"/>
                <a:gd name="T99" fmla="*/ 6 h 71"/>
                <a:gd name="T100" fmla="*/ 49 w 67"/>
                <a:gd name="T101" fmla="*/ 4 h 71"/>
                <a:gd name="T102" fmla="*/ 51 w 67"/>
                <a:gd name="T103" fmla="*/ 2 h 71"/>
                <a:gd name="T104" fmla="*/ 59 w 67"/>
                <a:gd name="T105" fmla="*/ 0 h 71"/>
                <a:gd name="T106" fmla="*/ 67 w 67"/>
                <a:gd name="T107" fmla="*/ 8 h 71"/>
                <a:gd name="T108" fmla="*/ 67 w 67"/>
                <a:gd name="T109" fmla="*/ 1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7" h="71">
                  <a:moveTo>
                    <a:pt x="67" y="16"/>
                  </a:moveTo>
                  <a:cubicBezTo>
                    <a:pt x="67" y="17"/>
                    <a:pt x="67" y="18"/>
                    <a:pt x="67" y="19"/>
                  </a:cubicBezTo>
                  <a:cubicBezTo>
                    <a:pt x="67" y="20"/>
                    <a:pt x="67" y="21"/>
                    <a:pt x="67" y="22"/>
                  </a:cubicBezTo>
                  <a:cubicBezTo>
                    <a:pt x="66" y="22"/>
                    <a:pt x="66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4"/>
                    <a:pt x="64" y="24"/>
                    <a:pt x="63" y="24"/>
                  </a:cubicBezTo>
                  <a:cubicBezTo>
                    <a:pt x="63" y="24"/>
                    <a:pt x="63" y="25"/>
                    <a:pt x="63" y="26"/>
                  </a:cubicBezTo>
                  <a:cubicBezTo>
                    <a:pt x="62" y="26"/>
                    <a:pt x="62" y="26"/>
                    <a:pt x="61" y="26"/>
                  </a:cubicBezTo>
                  <a:cubicBezTo>
                    <a:pt x="61" y="26"/>
                    <a:pt x="61" y="27"/>
                    <a:pt x="61" y="28"/>
                  </a:cubicBezTo>
                  <a:cubicBezTo>
                    <a:pt x="60" y="28"/>
                    <a:pt x="59" y="28"/>
                    <a:pt x="59" y="28"/>
                  </a:cubicBezTo>
                  <a:cubicBezTo>
                    <a:pt x="59" y="28"/>
                    <a:pt x="59" y="29"/>
                    <a:pt x="59" y="30"/>
                  </a:cubicBezTo>
                  <a:cubicBezTo>
                    <a:pt x="58" y="30"/>
                    <a:pt x="58" y="30"/>
                    <a:pt x="57" y="30"/>
                  </a:cubicBezTo>
                  <a:cubicBezTo>
                    <a:pt x="57" y="30"/>
                    <a:pt x="57" y="31"/>
                    <a:pt x="57" y="31"/>
                  </a:cubicBezTo>
                  <a:cubicBezTo>
                    <a:pt x="56" y="31"/>
                    <a:pt x="56" y="31"/>
                    <a:pt x="55" y="31"/>
                  </a:cubicBezTo>
                  <a:cubicBezTo>
                    <a:pt x="55" y="32"/>
                    <a:pt x="55" y="33"/>
                    <a:pt x="55" y="33"/>
                  </a:cubicBezTo>
                  <a:cubicBezTo>
                    <a:pt x="54" y="33"/>
                    <a:pt x="54" y="33"/>
                    <a:pt x="53" y="33"/>
                  </a:cubicBezTo>
                  <a:cubicBezTo>
                    <a:pt x="53" y="34"/>
                    <a:pt x="53" y="35"/>
                    <a:pt x="53" y="35"/>
                  </a:cubicBezTo>
                  <a:cubicBezTo>
                    <a:pt x="52" y="36"/>
                    <a:pt x="52" y="36"/>
                    <a:pt x="51" y="36"/>
                  </a:cubicBezTo>
                  <a:cubicBezTo>
                    <a:pt x="51" y="36"/>
                    <a:pt x="51" y="37"/>
                    <a:pt x="51" y="37"/>
                  </a:cubicBezTo>
                  <a:cubicBezTo>
                    <a:pt x="49" y="38"/>
                    <a:pt x="49" y="38"/>
                    <a:pt x="49" y="39"/>
                  </a:cubicBezTo>
                  <a:cubicBezTo>
                    <a:pt x="48" y="39"/>
                    <a:pt x="48" y="39"/>
                    <a:pt x="47" y="39"/>
                  </a:cubicBezTo>
                  <a:cubicBezTo>
                    <a:pt x="47" y="40"/>
                    <a:pt x="47" y="41"/>
                    <a:pt x="47" y="41"/>
                  </a:cubicBezTo>
                  <a:cubicBezTo>
                    <a:pt x="46" y="41"/>
                    <a:pt x="46" y="41"/>
                    <a:pt x="45" y="41"/>
                  </a:cubicBezTo>
                  <a:cubicBezTo>
                    <a:pt x="45" y="42"/>
                    <a:pt x="45" y="43"/>
                    <a:pt x="45" y="43"/>
                  </a:cubicBezTo>
                  <a:cubicBezTo>
                    <a:pt x="44" y="43"/>
                    <a:pt x="44" y="43"/>
                    <a:pt x="43" y="43"/>
                  </a:cubicBezTo>
                  <a:cubicBezTo>
                    <a:pt x="43" y="44"/>
                    <a:pt x="43" y="45"/>
                    <a:pt x="43" y="45"/>
                  </a:cubicBezTo>
                  <a:cubicBezTo>
                    <a:pt x="42" y="45"/>
                    <a:pt x="42" y="45"/>
                    <a:pt x="41" y="45"/>
                  </a:cubicBezTo>
                  <a:cubicBezTo>
                    <a:pt x="41" y="46"/>
                    <a:pt x="41" y="47"/>
                    <a:pt x="41" y="47"/>
                  </a:cubicBezTo>
                  <a:cubicBezTo>
                    <a:pt x="41" y="47"/>
                    <a:pt x="40" y="47"/>
                    <a:pt x="39" y="47"/>
                  </a:cubicBezTo>
                  <a:cubicBezTo>
                    <a:pt x="39" y="48"/>
                    <a:pt x="39" y="48"/>
                    <a:pt x="39" y="49"/>
                  </a:cubicBezTo>
                  <a:cubicBezTo>
                    <a:pt x="39" y="49"/>
                    <a:pt x="38" y="49"/>
                    <a:pt x="37" y="49"/>
                  </a:cubicBezTo>
                  <a:cubicBezTo>
                    <a:pt x="37" y="50"/>
                    <a:pt x="37" y="50"/>
                    <a:pt x="37" y="51"/>
                  </a:cubicBezTo>
                  <a:cubicBezTo>
                    <a:pt x="37" y="51"/>
                    <a:pt x="36" y="51"/>
                    <a:pt x="35" y="51"/>
                  </a:cubicBezTo>
                  <a:cubicBezTo>
                    <a:pt x="35" y="52"/>
                    <a:pt x="35" y="52"/>
                    <a:pt x="35" y="53"/>
                  </a:cubicBezTo>
                  <a:cubicBezTo>
                    <a:pt x="35" y="53"/>
                    <a:pt x="34" y="53"/>
                    <a:pt x="33" y="53"/>
                  </a:cubicBezTo>
                  <a:cubicBezTo>
                    <a:pt x="33" y="54"/>
                    <a:pt x="33" y="54"/>
                    <a:pt x="33" y="55"/>
                  </a:cubicBezTo>
                  <a:cubicBezTo>
                    <a:pt x="33" y="55"/>
                    <a:pt x="32" y="55"/>
                    <a:pt x="32" y="55"/>
                  </a:cubicBezTo>
                  <a:cubicBezTo>
                    <a:pt x="32" y="56"/>
                    <a:pt x="32" y="56"/>
                    <a:pt x="32" y="57"/>
                  </a:cubicBezTo>
                  <a:cubicBezTo>
                    <a:pt x="31" y="57"/>
                    <a:pt x="30" y="57"/>
                    <a:pt x="30" y="57"/>
                  </a:cubicBezTo>
                  <a:cubicBezTo>
                    <a:pt x="29" y="58"/>
                    <a:pt x="29" y="58"/>
                    <a:pt x="29" y="59"/>
                  </a:cubicBezTo>
                  <a:cubicBezTo>
                    <a:pt x="29" y="59"/>
                    <a:pt x="28" y="59"/>
                    <a:pt x="28" y="59"/>
                  </a:cubicBezTo>
                  <a:cubicBezTo>
                    <a:pt x="27" y="60"/>
                    <a:pt x="27" y="60"/>
                    <a:pt x="27" y="61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2"/>
                    <a:pt x="26" y="62"/>
                    <a:pt x="26" y="63"/>
                  </a:cubicBezTo>
                  <a:cubicBezTo>
                    <a:pt x="25" y="63"/>
                    <a:pt x="24" y="63"/>
                    <a:pt x="24" y="63"/>
                  </a:cubicBezTo>
                  <a:cubicBezTo>
                    <a:pt x="24" y="63"/>
                    <a:pt x="24" y="64"/>
                    <a:pt x="24" y="65"/>
                  </a:cubicBezTo>
                  <a:cubicBezTo>
                    <a:pt x="23" y="65"/>
                    <a:pt x="22" y="65"/>
                    <a:pt x="22" y="65"/>
                  </a:cubicBezTo>
                  <a:cubicBezTo>
                    <a:pt x="22" y="65"/>
                    <a:pt x="22" y="66"/>
                    <a:pt x="22" y="67"/>
                  </a:cubicBezTo>
                  <a:cubicBezTo>
                    <a:pt x="21" y="67"/>
                    <a:pt x="20" y="67"/>
                    <a:pt x="20" y="67"/>
                  </a:cubicBezTo>
                  <a:cubicBezTo>
                    <a:pt x="20" y="67"/>
                    <a:pt x="20" y="68"/>
                    <a:pt x="20" y="69"/>
                  </a:cubicBezTo>
                  <a:cubicBezTo>
                    <a:pt x="19" y="69"/>
                    <a:pt x="18" y="68"/>
                    <a:pt x="18" y="69"/>
                  </a:cubicBezTo>
                  <a:cubicBezTo>
                    <a:pt x="18" y="69"/>
                    <a:pt x="18" y="70"/>
                    <a:pt x="18" y="71"/>
                  </a:cubicBezTo>
                  <a:cubicBezTo>
                    <a:pt x="16" y="71"/>
                    <a:pt x="15" y="71"/>
                    <a:pt x="14" y="71"/>
                  </a:cubicBezTo>
                  <a:cubicBezTo>
                    <a:pt x="14" y="65"/>
                    <a:pt x="14" y="59"/>
                    <a:pt x="14" y="53"/>
                  </a:cubicBezTo>
                  <a:cubicBezTo>
                    <a:pt x="9" y="53"/>
                    <a:pt x="5" y="53"/>
                    <a:pt x="0" y="53"/>
                  </a:cubicBezTo>
                  <a:cubicBezTo>
                    <a:pt x="0" y="52"/>
                    <a:pt x="0" y="52"/>
                    <a:pt x="0" y="51"/>
                  </a:cubicBezTo>
                  <a:cubicBezTo>
                    <a:pt x="1" y="51"/>
                    <a:pt x="1" y="51"/>
                    <a:pt x="2" y="51"/>
                  </a:cubicBezTo>
                  <a:cubicBezTo>
                    <a:pt x="2" y="51"/>
                    <a:pt x="2" y="50"/>
                    <a:pt x="2" y="49"/>
                  </a:cubicBezTo>
                  <a:cubicBezTo>
                    <a:pt x="3" y="49"/>
                    <a:pt x="3" y="49"/>
                    <a:pt x="4" y="49"/>
                  </a:cubicBezTo>
                  <a:cubicBezTo>
                    <a:pt x="4" y="48"/>
                    <a:pt x="4" y="48"/>
                    <a:pt x="4" y="47"/>
                  </a:cubicBezTo>
                  <a:cubicBezTo>
                    <a:pt x="5" y="47"/>
                    <a:pt x="5" y="47"/>
                    <a:pt x="6" y="47"/>
                  </a:cubicBezTo>
                  <a:cubicBezTo>
                    <a:pt x="6" y="47"/>
                    <a:pt x="6" y="46"/>
                    <a:pt x="6" y="45"/>
                  </a:cubicBezTo>
                  <a:cubicBezTo>
                    <a:pt x="7" y="45"/>
                    <a:pt x="9" y="45"/>
                    <a:pt x="8" y="43"/>
                  </a:cubicBezTo>
                  <a:cubicBezTo>
                    <a:pt x="10" y="44"/>
                    <a:pt x="10" y="43"/>
                    <a:pt x="10" y="41"/>
                  </a:cubicBezTo>
                  <a:cubicBezTo>
                    <a:pt x="11" y="41"/>
                    <a:pt x="11" y="41"/>
                    <a:pt x="12" y="41"/>
                  </a:cubicBezTo>
                  <a:cubicBezTo>
                    <a:pt x="12" y="41"/>
                    <a:pt x="12" y="40"/>
                    <a:pt x="12" y="40"/>
                  </a:cubicBezTo>
                  <a:cubicBezTo>
                    <a:pt x="12" y="40"/>
                    <a:pt x="13" y="40"/>
                    <a:pt x="14" y="40"/>
                  </a:cubicBezTo>
                  <a:cubicBezTo>
                    <a:pt x="14" y="39"/>
                    <a:pt x="14" y="38"/>
                    <a:pt x="14" y="38"/>
                  </a:cubicBezTo>
                  <a:cubicBezTo>
                    <a:pt x="15" y="38"/>
                    <a:pt x="15" y="38"/>
                    <a:pt x="16" y="38"/>
                  </a:cubicBezTo>
                  <a:cubicBezTo>
                    <a:pt x="16" y="37"/>
                    <a:pt x="16" y="36"/>
                    <a:pt x="16" y="36"/>
                  </a:cubicBezTo>
                  <a:cubicBezTo>
                    <a:pt x="17" y="36"/>
                    <a:pt x="17" y="36"/>
                    <a:pt x="18" y="35"/>
                  </a:cubicBezTo>
                  <a:cubicBezTo>
                    <a:pt x="18" y="35"/>
                    <a:pt x="18" y="34"/>
                    <a:pt x="18" y="34"/>
                  </a:cubicBezTo>
                  <a:cubicBezTo>
                    <a:pt x="18" y="34"/>
                    <a:pt x="19" y="34"/>
                    <a:pt x="20" y="34"/>
                  </a:cubicBezTo>
                  <a:cubicBezTo>
                    <a:pt x="20" y="33"/>
                    <a:pt x="20" y="32"/>
                    <a:pt x="20" y="32"/>
                  </a:cubicBezTo>
                  <a:cubicBezTo>
                    <a:pt x="20" y="32"/>
                    <a:pt x="21" y="32"/>
                    <a:pt x="22" y="31"/>
                  </a:cubicBezTo>
                  <a:cubicBezTo>
                    <a:pt x="22" y="31"/>
                    <a:pt x="22" y="30"/>
                    <a:pt x="22" y="30"/>
                  </a:cubicBezTo>
                  <a:cubicBezTo>
                    <a:pt x="24" y="30"/>
                    <a:pt x="24" y="30"/>
                    <a:pt x="24" y="28"/>
                  </a:cubicBezTo>
                  <a:cubicBezTo>
                    <a:pt x="24" y="28"/>
                    <a:pt x="25" y="28"/>
                    <a:pt x="26" y="28"/>
                  </a:cubicBezTo>
                  <a:cubicBezTo>
                    <a:pt x="26" y="27"/>
                    <a:pt x="26" y="26"/>
                    <a:pt x="26" y="26"/>
                  </a:cubicBezTo>
                  <a:cubicBezTo>
                    <a:pt x="26" y="26"/>
                    <a:pt x="27" y="26"/>
                    <a:pt x="27" y="26"/>
                  </a:cubicBezTo>
                  <a:cubicBezTo>
                    <a:pt x="27" y="25"/>
                    <a:pt x="27" y="25"/>
                    <a:pt x="28" y="24"/>
                  </a:cubicBezTo>
                  <a:cubicBezTo>
                    <a:pt x="28" y="24"/>
                    <a:pt x="29" y="24"/>
                    <a:pt x="29" y="24"/>
                  </a:cubicBezTo>
                  <a:cubicBezTo>
                    <a:pt x="29" y="23"/>
                    <a:pt x="29" y="23"/>
                    <a:pt x="29" y="22"/>
                  </a:cubicBezTo>
                  <a:cubicBezTo>
                    <a:pt x="30" y="22"/>
                    <a:pt x="31" y="22"/>
                    <a:pt x="31" y="22"/>
                  </a:cubicBezTo>
                  <a:cubicBezTo>
                    <a:pt x="31" y="21"/>
                    <a:pt x="31" y="21"/>
                    <a:pt x="31" y="20"/>
                  </a:cubicBezTo>
                  <a:cubicBezTo>
                    <a:pt x="32" y="20"/>
                    <a:pt x="33" y="20"/>
                    <a:pt x="33" y="20"/>
                  </a:cubicBezTo>
                  <a:cubicBezTo>
                    <a:pt x="33" y="19"/>
                    <a:pt x="33" y="19"/>
                    <a:pt x="33" y="18"/>
                  </a:cubicBezTo>
                  <a:cubicBezTo>
                    <a:pt x="34" y="18"/>
                    <a:pt x="35" y="18"/>
                    <a:pt x="35" y="18"/>
                  </a:cubicBezTo>
                  <a:cubicBezTo>
                    <a:pt x="35" y="17"/>
                    <a:pt x="35" y="17"/>
                    <a:pt x="35" y="16"/>
                  </a:cubicBezTo>
                  <a:cubicBezTo>
                    <a:pt x="36" y="16"/>
                    <a:pt x="37" y="16"/>
                    <a:pt x="37" y="16"/>
                  </a:cubicBezTo>
                  <a:cubicBezTo>
                    <a:pt x="37" y="15"/>
                    <a:pt x="37" y="15"/>
                    <a:pt x="37" y="14"/>
                  </a:cubicBezTo>
                  <a:cubicBezTo>
                    <a:pt x="38" y="14"/>
                    <a:pt x="39" y="14"/>
                    <a:pt x="39" y="14"/>
                  </a:cubicBezTo>
                  <a:cubicBezTo>
                    <a:pt x="39" y="13"/>
                    <a:pt x="39" y="13"/>
                    <a:pt x="39" y="12"/>
                  </a:cubicBezTo>
                  <a:cubicBezTo>
                    <a:pt x="40" y="12"/>
                    <a:pt x="41" y="12"/>
                    <a:pt x="41" y="12"/>
                  </a:cubicBezTo>
                  <a:cubicBezTo>
                    <a:pt x="41" y="11"/>
                    <a:pt x="41" y="11"/>
                    <a:pt x="41" y="10"/>
                  </a:cubicBezTo>
                  <a:cubicBezTo>
                    <a:pt x="42" y="10"/>
                    <a:pt x="42" y="10"/>
                    <a:pt x="43" y="10"/>
                  </a:cubicBezTo>
                  <a:cubicBezTo>
                    <a:pt x="43" y="9"/>
                    <a:pt x="43" y="9"/>
                    <a:pt x="43" y="8"/>
                  </a:cubicBezTo>
                  <a:cubicBezTo>
                    <a:pt x="44" y="8"/>
                    <a:pt x="44" y="8"/>
                    <a:pt x="45" y="8"/>
                  </a:cubicBezTo>
                  <a:cubicBezTo>
                    <a:pt x="45" y="7"/>
                    <a:pt x="45" y="7"/>
                    <a:pt x="45" y="6"/>
                  </a:cubicBezTo>
                  <a:cubicBezTo>
                    <a:pt x="46" y="6"/>
                    <a:pt x="46" y="6"/>
                    <a:pt x="47" y="6"/>
                  </a:cubicBezTo>
                  <a:cubicBezTo>
                    <a:pt x="47" y="5"/>
                    <a:pt x="47" y="5"/>
                    <a:pt x="47" y="4"/>
                  </a:cubicBezTo>
                  <a:cubicBezTo>
                    <a:pt x="48" y="4"/>
                    <a:pt x="48" y="4"/>
                    <a:pt x="49" y="4"/>
                  </a:cubicBezTo>
                  <a:cubicBezTo>
                    <a:pt x="49" y="4"/>
                    <a:pt x="49" y="3"/>
                    <a:pt x="49" y="2"/>
                  </a:cubicBezTo>
                  <a:cubicBezTo>
                    <a:pt x="50" y="2"/>
                    <a:pt x="50" y="2"/>
                    <a:pt x="51" y="2"/>
                  </a:cubicBezTo>
                  <a:cubicBezTo>
                    <a:pt x="51" y="2"/>
                    <a:pt x="51" y="1"/>
                    <a:pt x="51" y="0"/>
                  </a:cubicBezTo>
                  <a:cubicBezTo>
                    <a:pt x="54" y="0"/>
                    <a:pt x="56" y="0"/>
                    <a:pt x="59" y="0"/>
                  </a:cubicBezTo>
                  <a:cubicBezTo>
                    <a:pt x="59" y="3"/>
                    <a:pt x="59" y="5"/>
                    <a:pt x="59" y="8"/>
                  </a:cubicBezTo>
                  <a:cubicBezTo>
                    <a:pt x="61" y="8"/>
                    <a:pt x="64" y="8"/>
                    <a:pt x="67" y="8"/>
                  </a:cubicBezTo>
                  <a:cubicBezTo>
                    <a:pt x="67" y="10"/>
                    <a:pt x="67" y="13"/>
                    <a:pt x="67" y="15"/>
                  </a:cubicBezTo>
                  <a:cubicBezTo>
                    <a:pt x="67" y="15"/>
                    <a:pt x="67" y="15"/>
                    <a:pt x="67" y="16"/>
                  </a:cubicBezTo>
                  <a:cubicBezTo>
                    <a:pt x="67" y="16"/>
                    <a:pt x="67" y="16"/>
                    <a:pt x="67" y="16"/>
                  </a:cubicBezTo>
                  <a:close/>
                </a:path>
              </a:pathLst>
            </a:custGeom>
            <a:solidFill>
              <a:srgbClr val="9FAD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1" name="Freeform 1680">
              <a:extLst>
                <a:ext uri="{FF2B5EF4-FFF2-40B4-BE49-F238E27FC236}">
                  <a16:creationId xmlns:a16="http://schemas.microsoft.com/office/drawing/2014/main" id="{794C3306-F8A4-42C6-A889-3A4AE910F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" y="1928"/>
              <a:ext cx="57" cy="60"/>
            </a:xfrm>
            <a:custGeom>
              <a:avLst/>
              <a:gdLst>
                <a:gd name="T0" fmla="*/ 12 w 36"/>
                <a:gd name="T1" fmla="*/ 30 h 38"/>
                <a:gd name="T2" fmla="*/ 4 w 36"/>
                <a:gd name="T3" fmla="*/ 30 h 38"/>
                <a:gd name="T4" fmla="*/ 4 w 36"/>
                <a:gd name="T5" fmla="*/ 26 h 38"/>
                <a:gd name="T6" fmla="*/ 0 w 36"/>
                <a:gd name="T7" fmla="*/ 27 h 38"/>
                <a:gd name="T8" fmla="*/ 0 w 36"/>
                <a:gd name="T9" fmla="*/ 0 h 38"/>
                <a:gd name="T10" fmla="*/ 3 w 36"/>
                <a:gd name="T11" fmla="*/ 0 h 38"/>
                <a:gd name="T12" fmla="*/ 11 w 36"/>
                <a:gd name="T13" fmla="*/ 0 h 38"/>
                <a:gd name="T14" fmla="*/ 11 w 36"/>
                <a:gd name="T15" fmla="*/ 0 h 38"/>
                <a:gd name="T16" fmla="*/ 11 w 36"/>
                <a:gd name="T17" fmla="*/ 2 h 38"/>
                <a:gd name="T18" fmla="*/ 13 w 36"/>
                <a:gd name="T19" fmla="*/ 2 h 38"/>
                <a:gd name="T20" fmla="*/ 13 w 36"/>
                <a:gd name="T21" fmla="*/ 5 h 38"/>
                <a:gd name="T22" fmla="*/ 14 w 36"/>
                <a:gd name="T23" fmla="*/ 5 h 38"/>
                <a:gd name="T24" fmla="*/ 15 w 36"/>
                <a:gd name="T25" fmla="*/ 5 h 38"/>
                <a:gd name="T26" fmla="*/ 15 w 36"/>
                <a:gd name="T27" fmla="*/ 7 h 38"/>
                <a:gd name="T28" fmla="*/ 16 w 36"/>
                <a:gd name="T29" fmla="*/ 7 h 38"/>
                <a:gd name="T30" fmla="*/ 17 w 36"/>
                <a:gd name="T31" fmla="*/ 8 h 38"/>
                <a:gd name="T32" fmla="*/ 18 w 36"/>
                <a:gd name="T33" fmla="*/ 9 h 38"/>
                <a:gd name="T34" fmla="*/ 19 w 36"/>
                <a:gd name="T35" fmla="*/ 9 h 38"/>
                <a:gd name="T36" fmla="*/ 19 w 36"/>
                <a:gd name="T37" fmla="*/ 13 h 38"/>
                <a:gd name="T38" fmla="*/ 21 w 36"/>
                <a:gd name="T39" fmla="*/ 13 h 38"/>
                <a:gd name="T40" fmla="*/ 21 w 36"/>
                <a:gd name="T41" fmla="*/ 15 h 38"/>
                <a:gd name="T42" fmla="*/ 22 w 36"/>
                <a:gd name="T43" fmla="*/ 15 h 38"/>
                <a:gd name="T44" fmla="*/ 23 w 36"/>
                <a:gd name="T45" fmla="*/ 16 h 38"/>
                <a:gd name="T46" fmla="*/ 23 w 36"/>
                <a:gd name="T47" fmla="*/ 18 h 38"/>
                <a:gd name="T48" fmla="*/ 24 w 36"/>
                <a:gd name="T49" fmla="*/ 19 h 38"/>
                <a:gd name="T50" fmla="*/ 25 w 36"/>
                <a:gd name="T51" fmla="*/ 19 h 38"/>
                <a:gd name="T52" fmla="*/ 25 w 36"/>
                <a:gd name="T53" fmla="*/ 20 h 38"/>
                <a:gd name="T54" fmla="*/ 25 w 36"/>
                <a:gd name="T55" fmla="*/ 21 h 38"/>
                <a:gd name="T56" fmla="*/ 27 w 36"/>
                <a:gd name="T57" fmla="*/ 21 h 38"/>
                <a:gd name="T58" fmla="*/ 27 w 36"/>
                <a:gd name="T59" fmla="*/ 25 h 38"/>
                <a:gd name="T60" fmla="*/ 29 w 36"/>
                <a:gd name="T61" fmla="*/ 25 h 38"/>
                <a:gd name="T62" fmla="*/ 29 w 36"/>
                <a:gd name="T63" fmla="*/ 26 h 38"/>
                <a:gd name="T64" fmla="*/ 29 w 36"/>
                <a:gd name="T65" fmla="*/ 27 h 38"/>
                <a:gd name="T66" fmla="*/ 31 w 36"/>
                <a:gd name="T67" fmla="*/ 27 h 38"/>
                <a:gd name="T68" fmla="*/ 31 w 36"/>
                <a:gd name="T69" fmla="*/ 30 h 38"/>
                <a:gd name="T70" fmla="*/ 33 w 36"/>
                <a:gd name="T71" fmla="*/ 30 h 38"/>
                <a:gd name="T72" fmla="*/ 33 w 36"/>
                <a:gd name="T73" fmla="*/ 32 h 38"/>
                <a:gd name="T74" fmla="*/ 33 w 36"/>
                <a:gd name="T75" fmla="*/ 32 h 38"/>
                <a:gd name="T76" fmla="*/ 34 w 36"/>
                <a:gd name="T77" fmla="*/ 32 h 38"/>
                <a:gd name="T78" fmla="*/ 34 w 36"/>
                <a:gd name="T79" fmla="*/ 36 h 38"/>
                <a:gd name="T80" fmla="*/ 36 w 36"/>
                <a:gd name="T81" fmla="*/ 36 h 38"/>
                <a:gd name="T82" fmla="*/ 36 w 36"/>
                <a:gd name="T83" fmla="*/ 38 h 38"/>
                <a:gd name="T84" fmla="*/ 36 w 36"/>
                <a:gd name="T85" fmla="*/ 38 h 38"/>
                <a:gd name="T86" fmla="*/ 12 w 36"/>
                <a:gd name="T87" fmla="*/ 38 h 38"/>
                <a:gd name="T88" fmla="*/ 11 w 36"/>
                <a:gd name="T89" fmla="*/ 37 h 38"/>
                <a:gd name="T90" fmla="*/ 11 w 36"/>
                <a:gd name="T91" fmla="*/ 31 h 38"/>
                <a:gd name="T92" fmla="*/ 12 w 36"/>
                <a:gd name="T93" fmla="*/ 3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" h="38">
                  <a:moveTo>
                    <a:pt x="12" y="30"/>
                  </a:moveTo>
                  <a:cubicBezTo>
                    <a:pt x="9" y="30"/>
                    <a:pt x="6" y="30"/>
                    <a:pt x="4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2" y="27"/>
                    <a:pt x="1" y="26"/>
                    <a:pt x="0" y="27"/>
                  </a:cubicBezTo>
                  <a:cubicBezTo>
                    <a:pt x="0" y="18"/>
                    <a:pt x="0" y="9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5" y="0"/>
                    <a:pt x="8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2"/>
                  </a:cubicBezTo>
                  <a:cubicBezTo>
                    <a:pt x="12" y="2"/>
                    <a:pt x="13" y="2"/>
                    <a:pt x="13" y="2"/>
                  </a:cubicBezTo>
                  <a:cubicBezTo>
                    <a:pt x="13" y="3"/>
                    <a:pt x="13" y="4"/>
                    <a:pt x="13" y="5"/>
                  </a:cubicBezTo>
                  <a:cubicBezTo>
                    <a:pt x="13" y="5"/>
                    <a:pt x="13" y="5"/>
                    <a:pt x="14" y="5"/>
                  </a:cubicBezTo>
                  <a:cubicBezTo>
                    <a:pt x="14" y="5"/>
                    <a:pt x="15" y="5"/>
                    <a:pt x="15" y="5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7" y="7"/>
                    <a:pt x="17" y="8"/>
                    <a:pt x="17" y="8"/>
                  </a:cubicBezTo>
                  <a:cubicBezTo>
                    <a:pt x="17" y="9"/>
                    <a:pt x="17" y="9"/>
                    <a:pt x="18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11"/>
                    <a:pt x="19" y="12"/>
                    <a:pt x="19" y="13"/>
                  </a:cubicBezTo>
                  <a:cubicBezTo>
                    <a:pt x="20" y="13"/>
                    <a:pt x="20" y="13"/>
                    <a:pt x="21" y="13"/>
                  </a:cubicBezTo>
                  <a:cubicBezTo>
                    <a:pt x="21" y="14"/>
                    <a:pt x="21" y="14"/>
                    <a:pt x="21" y="15"/>
                  </a:cubicBezTo>
                  <a:cubicBezTo>
                    <a:pt x="21" y="15"/>
                    <a:pt x="22" y="15"/>
                    <a:pt x="22" y="15"/>
                  </a:cubicBezTo>
                  <a:cubicBezTo>
                    <a:pt x="23" y="15"/>
                    <a:pt x="23" y="15"/>
                    <a:pt x="23" y="16"/>
                  </a:cubicBezTo>
                  <a:cubicBezTo>
                    <a:pt x="23" y="17"/>
                    <a:pt x="23" y="18"/>
                    <a:pt x="23" y="18"/>
                  </a:cubicBezTo>
                  <a:cubicBezTo>
                    <a:pt x="23" y="19"/>
                    <a:pt x="23" y="19"/>
                    <a:pt x="24" y="19"/>
                  </a:cubicBezTo>
                  <a:cubicBezTo>
                    <a:pt x="24" y="19"/>
                    <a:pt x="24" y="19"/>
                    <a:pt x="25" y="19"/>
                  </a:cubicBezTo>
                  <a:cubicBezTo>
                    <a:pt x="25" y="19"/>
                    <a:pt x="25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1"/>
                    <a:pt x="26" y="21"/>
                    <a:pt x="27" y="21"/>
                  </a:cubicBezTo>
                  <a:cubicBezTo>
                    <a:pt x="27" y="22"/>
                    <a:pt x="27" y="23"/>
                    <a:pt x="27" y="25"/>
                  </a:cubicBezTo>
                  <a:cubicBezTo>
                    <a:pt x="27" y="25"/>
                    <a:pt x="28" y="25"/>
                    <a:pt x="29" y="25"/>
                  </a:cubicBezTo>
                  <a:cubicBezTo>
                    <a:pt x="29" y="25"/>
                    <a:pt x="29" y="26"/>
                    <a:pt x="29" y="26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30" y="27"/>
                    <a:pt x="30" y="27"/>
                    <a:pt x="31" y="27"/>
                  </a:cubicBezTo>
                  <a:cubicBezTo>
                    <a:pt x="31" y="28"/>
                    <a:pt x="31" y="29"/>
                    <a:pt x="31" y="30"/>
                  </a:cubicBezTo>
                  <a:cubicBezTo>
                    <a:pt x="31" y="30"/>
                    <a:pt x="32" y="30"/>
                    <a:pt x="33" y="30"/>
                  </a:cubicBezTo>
                  <a:cubicBezTo>
                    <a:pt x="33" y="31"/>
                    <a:pt x="33" y="31"/>
                    <a:pt x="33" y="32"/>
                  </a:cubicBezTo>
                  <a:cubicBezTo>
                    <a:pt x="33" y="32"/>
                    <a:pt x="33" y="33"/>
                    <a:pt x="33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4"/>
                    <a:pt x="34" y="35"/>
                    <a:pt x="34" y="36"/>
                  </a:cubicBezTo>
                  <a:cubicBezTo>
                    <a:pt x="35" y="36"/>
                    <a:pt x="36" y="36"/>
                    <a:pt x="36" y="36"/>
                  </a:cubicBezTo>
                  <a:cubicBezTo>
                    <a:pt x="36" y="37"/>
                    <a:pt x="36" y="37"/>
                    <a:pt x="36" y="38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28" y="38"/>
                    <a:pt x="20" y="38"/>
                    <a:pt x="12" y="38"/>
                  </a:cubicBezTo>
                  <a:cubicBezTo>
                    <a:pt x="12" y="38"/>
                    <a:pt x="11" y="38"/>
                    <a:pt x="11" y="37"/>
                  </a:cubicBezTo>
                  <a:cubicBezTo>
                    <a:pt x="11" y="35"/>
                    <a:pt x="11" y="33"/>
                    <a:pt x="11" y="31"/>
                  </a:cubicBezTo>
                  <a:cubicBezTo>
                    <a:pt x="11" y="31"/>
                    <a:pt x="12" y="31"/>
                    <a:pt x="12" y="30"/>
                  </a:cubicBezTo>
                  <a:close/>
                </a:path>
              </a:pathLst>
            </a:custGeom>
            <a:solidFill>
              <a:srgbClr val="9FAD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2" name="Freeform 1681">
              <a:extLst>
                <a:ext uri="{FF2B5EF4-FFF2-40B4-BE49-F238E27FC236}">
                  <a16:creationId xmlns:a16="http://schemas.microsoft.com/office/drawing/2014/main" id="{859002EE-482D-4E65-A40C-BFBBE7EC5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2" y="1969"/>
              <a:ext cx="50" cy="0"/>
            </a:xfrm>
            <a:custGeom>
              <a:avLst/>
              <a:gdLst>
                <a:gd name="T0" fmla="*/ 0 w 50"/>
                <a:gd name="T1" fmla="*/ 50 w 50"/>
                <a:gd name="T2" fmla="*/ 0 w 5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50">
                  <a:moveTo>
                    <a:pt x="0" y="0"/>
                  </a:moveTo>
                  <a:lnTo>
                    <a:pt x="5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0B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3" name="Line 1682">
              <a:extLst>
                <a:ext uri="{FF2B5EF4-FFF2-40B4-BE49-F238E27FC236}">
                  <a16:creationId xmlns:a16="http://schemas.microsoft.com/office/drawing/2014/main" id="{3681E56E-B8E9-497A-B7DA-18889EED9F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22" y="1969"/>
              <a:ext cx="5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4" name="Freeform 1683">
              <a:extLst>
                <a:ext uri="{FF2B5EF4-FFF2-40B4-BE49-F238E27FC236}">
                  <a16:creationId xmlns:a16="http://schemas.microsoft.com/office/drawing/2014/main" id="{A1B164FB-817D-4E8E-BD0A-431EB2B9B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7" y="1364"/>
              <a:ext cx="123" cy="58"/>
            </a:xfrm>
            <a:custGeom>
              <a:avLst/>
              <a:gdLst>
                <a:gd name="T0" fmla="*/ 58 w 79"/>
                <a:gd name="T1" fmla="*/ 37 h 37"/>
                <a:gd name="T2" fmla="*/ 58 w 79"/>
                <a:gd name="T3" fmla="*/ 35 h 37"/>
                <a:gd name="T4" fmla="*/ 53 w 79"/>
                <a:gd name="T5" fmla="*/ 35 h 37"/>
                <a:gd name="T6" fmla="*/ 53 w 79"/>
                <a:gd name="T7" fmla="*/ 30 h 37"/>
                <a:gd name="T8" fmla="*/ 49 w 79"/>
                <a:gd name="T9" fmla="*/ 30 h 37"/>
                <a:gd name="T10" fmla="*/ 49 w 79"/>
                <a:gd name="T11" fmla="*/ 28 h 37"/>
                <a:gd name="T12" fmla="*/ 43 w 79"/>
                <a:gd name="T13" fmla="*/ 28 h 37"/>
                <a:gd name="T14" fmla="*/ 43 w 79"/>
                <a:gd name="T15" fmla="*/ 26 h 37"/>
                <a:gd name="T16" fmla="*/ 41 w 79"/>
                <a:gd name="T17" fmla="*/ 26 h 37"/>
                <a:gd name="T18" fmla="*/ 41 w 79"/>
                <a:gd name="T19" fmla="*/ 24 h 37"/>
                <a:gd name="T20" fmla="*/ 37 w 79"/>
                <a:gd name="T21" fmla="*/ 24 h 37"/>
                <a:gd name="T22" fmla="*/ 36 w 79"/>
                <a:gd name="T23" fmla="*/ 22 h 37"/>
                <a:gd name="T24" fmla="*/ 33 w 79"/>
                <a:gd name="T25" fmla="*/ 22 h 37"/>
                <a:gd name="T26" fmla="*/ 32 w 79"/>
                <a:gd name="T27" fmla="*/ 20 h 37"/>
                <a:gd name="T28" fmla="*/ 28 w 79"/>
                <a:gd name="T29" fmla="*/ 18 h 37"/>
                <a:gd name="T30" fmla="*/ 24 w 79"/>
                <a:gd name="T31" fmla="*/ 18 h 37"/>
                <a:gd name="T32" fmla="*/ 24 w 79"/>
                <a:gd name="T33" fmla="*/ 15 h 37"/>
                <a:gd name="T34" fmla="*/ 20 w 79"/>
                <a:gd name="T35" fmla="*/ 15 h 37"/>
                <a:gd name="T36" fmla="*/ 20 w 79"/>
                <a:gd name="T37" fmla="*/ 13 h 37"/>
                <a:gd name="T38" fmla="*/ 18 w 79"/>
                <a:gd name="T39" fmla="*/ 13 h 37"/>
                <a:gd name="T40" fmla="*/ 18 w 79"/>
                <a:gd name="T41" fmla="*/ 11 h 37"/>
                <a:gd name="T42" fmla="*/ 14 w 79"/>
                <a:gd name="T43" fmla="*/ 11 h 37"/>
                <a:gd name="T44" fmla="*/ 13 w 79"/>
                <a:gd name="T45" fmla="*/ 9 h 37"/>
                <a:gd name="T46" fmla="*/ 9 w 79"/>
                <a:gd name="T47" fmla="*/ 9 h 37"/>
                <a:gd name="T48" fmla="*/ 9 w 79"/>
                <a:gd name="T49" fmla="*/ 7 h 37"/>
                <a:gd name="T50" fmla="*/ 5 w 79"/>
                <a:gd name="T51" fmla="*/ 7 h 37"/>
                <a:gd name="T52" fmla="*/ 5 w 79"/>
                <a:gd name="T53" fmla="*/ 5 h 37"/>
                <a:gd name="T54" fmla="*/ 1 w 79"/>
                <a:gd name="T55" fmla="*/ 5 h 37"/>
                <a:gd name="T56" fmla="*/ 3 w 79"/>
                <a:gd name="T57" fmla="*/ 2 h 37"/>
                <a:gd name="T58" fmla="*/ 5 w 79"/>
                <a:gd name="T59" fmla="*/ 0 h 37"/>
                <a:gd name="T60" fmla="*/ 10 w 79"/>
                <a:gd name="T61" fmla="*/ 0 h 37"/>
                <a:gd name="T62" fmla="*/ 12 w 79"/>
                <a:gd name="T63" fmla="*/ 2 h 37"/>
                <a:gd name="T64" fmla="*/ 20 w 79"/>
                <a:gd name="T65" fmla="*/ 2 h 37"/>
                <a:gd name="T66" fmla="*/ 21 w 79"/>
                <a:gd name="T67" fmla="*/ 4 h 37"/>
                <a:gd name="T68" fmla="*/ 29 w 79"/>
                <a:gd name="T69" fmla="*/ 4 h 37"/>
                <a:gd name="T70" fmla="*/ 29 w 79"/>
                <a:gd name="T71" fmla="*/ 6 h 37"/>
                <a:gd name="T72" fmla="*/ 37 w 79"/>
                <a:gd name="T73" fmla="*/ 6 h 37"/>
                <a:gd name="T74" fmla="*/ 37 w 79"/>
                <a:gd name="T75" fmla="*/ 8 h 37"/>
                <a:gd name="T76" fmla="*/ 46 w 79"/>
                <a:gd name="T77" fmla="*/ 8 h 37"/>
                <a:gd name="T78" fmla="*/ 46 w 79"/>
                <a:gd name="T79" fmla="*/ 10 h 37"/>
                <a:gd name="T80" fmla="*/ 56 w 79"/>
                <a:gd name="T81" fmla="*/ 10 h 37"/>
                <a:gd name="T82" fmla="*/ 56 w 79"/>
                <a:gd name="T83" fmla="*/ 13 h 37"/>
                <a:gd name="T84" fmla="*/ 65 w 79"/>
                <a:gd name="T85" fmla="*/ 13 h 37"/>
                <a:gd name="T86" fmla="*/ 65 w 79"/>
                <a:gd name="T87" fmla="*/ 15 h 37"/>
                <a:gd name="T88" fmla="*/ 67 w 79"/>
                <a:gd name="T89" fmla="*/ 13 h 37"/>
                <a:gd name="T90" fmla="*/ 73 w 79"/>
                <a:gd name="T91" fmla="*/ 13 h 37"/>
                <a:gd name="T92" fmla="*/ 73 w 79"/>
                <a:gd name="T93" fmla="*/ 15 h 37"/>
                <a:gd name="T94" fmla="*/ 79 w 79"/>
                <a:gd name="T95" fmla="*/ 15 h 37"/>
                <a:gd name="T96" fmla="*/ 79 w 79"/>
                <a:gd name="T97" fmla="*/ 17 h 37"/>
                <a:gd name="T98" fmla="*/ 77 w 79"/>
                <a:gd name="T99" fmla="*/ 17 h 37"/>
                <a:gd name="T100" fmla="*/ 77 w 79"/>
                <a:gd name="T101" fmla="*/ 19 h 37"/>
                <a:gd name="T102" fmla="*/ 75 w 79"/>
                <a:gd name="T103" fmla="*/ 19 h 37"/>
                <a:gd name="T104" fmla="*/ 75 w 79"/>
                <a:gd name="T105" fmla="*/ 21 h 37"/>
                <a:gd name="T106" fmla="*/ 73 w 79"/>
                <a:gd name="T107" fmla="*/ 23 h 37"/>
                <a:gd name="T108" fmla="*/ 70 w 79"/>
                <a:gd name="T109" fmla="*/ 25 h 37"/>
                <a:gd name="T110" fmla="*/ 66 w 79"/>
                <a:gd name="T111" fmla="*/ 30 h 37"/>
                <a:gd name="T112" fmla="*/ 64 w 79"/>
                <a:gd name="T113" fmla="*/ 32 h 37"/>
                <a:gd name="T114" fmla="*/ 62 w 79"/>
                <a:gd name="T115" fmla="*/ 34 h 37"/>
                <a:gd name="T116" fmla="*/ 60 w 79"/>
                <a:gd name="T117" fmla="*/ 37 h 37"/>
                <a:gd name="T118" fmla="*/ 58 w 79"/>
                <a:gd name="T11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9" h="37">
                  <a:moveTo>
                    <a:pt x="58" y="37"/>
                  </a:moveTo>
                  <a:cubicBezTo>
                    <a:pt x="58" y="36"/>
                    <a:pt x="58" y="35"/>
                    <a:pt x="58" y="35"/>
                  </a:cubicBezTo>
                  <a:cubicBezTo>
                    <a:pt x="56" y="35"/>
                    <a:pt x="55" y="35"/>
                    <a:pt x="53" y="35"/>
                  </a:cubicBezTo>
                  <a:cubicBezTo>
                    <a:pt x="53" y="33"/>
                    <a:pt x="53" y="32"/>
                    <a:pt x="53" y="30"/>
                  </a:cubicBezTo>
                  <a:cubicBezTo>
                    <a:pt x="52" y="30"/>
                    <a:pt x="51" y="30"/>
                    <a:pt x="49" y="30"/>
                  </a:cubicBezTo>
                  <a:cubicBezTo>
                    <a:pt x="49" y="30"/>
                    <a:pt x="49" y="29"/>
                    <a:pt x="49" y="28"/>
                  </a:cubicBezTo>
                  <a:cubicBezTo>
                    <a:pt x="47" y="28"/>
                    <a:pt x="45" y="28"/>
                    <a:pt x="43" y="28"/>
                  </a:cubicBezTo>
                  <a:cubicBezTo>
                    <a:pt x="43" y="28"/>
                    <a:pt x="43" y="27"/>
                    <a:pt x="43" y="26"/>
                  </a:cubicBezTo>
                  <a:cubicBezTo>
                    <a:pt x="42" y="26"/>
                    <a:pt x="42" y="26"/>
                    <a:pt x="41" y="26"/>
                  </a:cubicBezTo>
                  <a:cubicBezTo>
                    <a:pt x="41" y="25"/>
                    <a:pt x="41" y="25"/>
                    <a:pt x="41" y="24"/>
                  </a:cubicBezTo>
                  <a:cubicBezTo>
                    <a:pt x="39" y="24"/>
                    <a:pt x="38" y="24"/>
                    <a:pt x="37" y="24"/>
                  </a:cubicBezTo>
                  <a:cubicBezTo>
                    <a:pt x="37" y="23"/>
                    <a:pt x="36" y="23"/>
                    <a:pt x="36" y="22"/>
                  </a:cubicBezTo>
                  <a:cubicBezTo>
                    <a:pt x="35" y="22"/>
                    <a:pt x="34" y="22"/>
                    <a:pt x="33" y="22"/>
                  </a:cubicBezTo>
                  <a:cubicBezTo>
                    <a:pt x="33" y="21"/>
                    <a:pt x="32" y="21"/>
                    <a:pt x="32" y="20"/>
                  </a:cubicBezTo>
                  <a:cubicBezTo>
                    <a:pt x="31" y="19"/>
                    <a:pt x="28" y="22"/>
                    <a:pt x="28" y="18"/>
                  </a:cubicBezTo>
                  <a:cubicBezTo>
                    <a:pt x="27" y="18"/>
                    <a:pt x="25" y="18"/>
                    <a:pt x="24" y="18"/>
                  </a:cubicBezTo>
                  <a:cubicBezTo>
                    <a:pt x="24" y="17"/>
                    <a:pt x="24" y="16"/>
                    <a:pt x="24" y="15"/>
                  </a:cubicBezTo>
                  <a:cubicBezTo>
                    <a:pt x="22" y="15"/>
                    <a:pt x="21" y="15"/>
                    <a:pt x="20" y="15"/>
                  </a:cubicBezTo>
                  <a:cubicBezTo>
                    <a:pt x="20" y="15"/>
                    <a:pt x="20" y="14"/>
                    <a:pt x="20" y="13"/>
                  </a:cubicBezTo>
                  <a:cubicBezTo>
                    <a:pt x="19" y="13"/>
                    <a:pt x="18" y="13"/>
                    <a:pt x="18" y="13"/>
                  </a:cubicBezTo>
                  <a:cubicBezTo>
                    <a:pt x="18" y="13"/>
                    <a:pt x="18" y="12"/>
                    <a:pt x="18" y="11"/>
                  </a:cubicBezTo>
                  <a:cubicBezTo>
                    <a:pt x="16" y="11"/>
                    <a:pt x="15" y="11"/>
                    <a:pt x="14" y="11"/>
                  </a:cubicBezTo>
                  <a:cubicBezTo>
                    <a:pt x="13" y="11"/>
                    <a:pt x="13" y="10"/>
                    <a:pt x="13" y="9"/>
                  </a:cubicBezTo>
                  <a:cubicBezTo>
                    <a:pt x="12" y="9"/>
                    <a:pt x="11" y="9"/>
                    <a:pt x="9" y="9"/>
                  </a:cubicBezTo>
                  <a:cubicBezTo>
                    <a:pt x="9" y="8"/>
                    <a:pt x="9" y="8"/>
                    <a:pt x="9" y="7"/>
                  </a:cubicBezTo>
                  <a:cubicBezTo>
                    <a:pt x="8" y="7"/>
                    <a:pt x="6" y="7"/>
                    <a:pt x="5" y="7"/>
                  </a:cubicBezTo>
                  <a:cubicBezTo>
                    <a:pt x="5" y="6"/>
                    <a:pt x="5" y="6"/>
                    <a:pt x="5" y="5"/>
                  </a:cubicBezTo>
                  <a:cubicBezTo>
                    <a:pt x="3" y="5"/>
                    <a:pt x="2" y="5"/>
                    <a:pt x="1" y="5"/>
                  </a:cubicBezTo>
                  <a:cubicBezTo>
                    <a:pt x="0" y="3"/>
                    <a:pt x="0" y="2"/>
                    <a:pt x="3" y="2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7" y="0"/>
                    <a:pt x="8" y="0"/>
                    <a:pt x="10" y="0"/>
                  </a:cubicBezTo>
                  <a:cubicBezTo>
                    <a:pt x="11" y="0"/>
                    <a:pt x="13" y="0"/>
                    <a:pt x="12" y="2"/>
                  </a:cubicBezTo>
                  <a:cubicBezTo>
                    <a:pt x="15" y="2"/>
                    <a:pt x="17" y="2"/>
                    <a:pt x="20" y="2"/>
                  </a:cubicBezTo>
                  <a:cubicBezTo>
                    <a:pt x="20" y="3"/>
                    <a:pt x="20" y="3"/>
                    <a:pt x="21" y="4"/>
                  </a:cubicBezTo>
                  <a:cubicBezTo>
                    <a:pt x="23" y="4"/>
                    <a:pt x="26" y="4"/>
                    <a:pt x="29" y="4"/>
                  </a:cubicBezTo>
                  <a:cubicBezTo>
                    <a:pt x="29" y="5"/>
                    <a:pt x="29" y="6"/>
                    <a:pt x="29" y="6"/>
                  </a:cubicBezTo>
                  <a:cubicBezTo>
                    <a:pt x="32" y="6"/>
                    <a:pt x="34" y="6"/>
                    <a:pt x="37" y="6"/>
                  </a:cubicBezTo>
                  <a:cubicBezTo>
                    <a:pt x="37" y="7"/>
                    <a:pt x="37" y="8"/>
                    <a:pt x="37" y="8"/>
                  </a:cubicBezTo>
                  <a:cubicBezTo>
                    <a:pt x="40" y="8"/>
                    <a:pt x="43" y="8"/>
                    <a:pt x="46" y="8"/>
                  </a:cubicBezTo>
                  <a:cubicBezTo>
                    <a:pt x="46" y="9"/>
                    <a:pt x="46" y="10"/>
                    <a:pt x="46" y="10"/>
                  </a:cubicBezTo>
                  <a:cubicBezTo>
                    <a:pt x="49" y="10"/>
                    <a:pt x="53" y="10"/>
                    <a:pt x="56" y="10"/>
                  </a:cubicBezTo>
                  <a:cubicBezTo>
                    <a:pt x="56" y="11"/>
                    <a:pt x="56" y="12"/>
                    <a:pt x="56" y="13"/>
                  </a:cubicBezTo>
                  <a:cubicBezTo>
                    <a:pt x="59" y="13"/>
                    <a:pt x="62" y="13"/>
                    <a:pt x="65" y="13"/>
                  </a:cubicBezTo>
                  <a:cubicBezTo>
                    <a:pt x="65" y="13"/>
                    <a:pt x="65" y="14"/>
                    <a:pt x="65" y="15"/>
                  </a:cubicBezTo>
                  <a:cubicBezTo>
                    <a:pt x="67" y="15"/>
                    <a:pt x="66" y="13"/>
                    <a:pt x="67" y="13"/>
                  </a:cubicBezTo>
                  <a:cubicBezTo>
                    <a:pt x="69" y="13"/>
                    <a:pt x="71" y="13"/>
                    <a:pt x="73" y="13"/>
                  </a:cubicBezTo>
                  <a:cubicBezTo>
                    <a:pt x="73" y="13"/>
                    <a:pt x="73" y="14"/>
                    <a:pt x="73" y="15"/>
                  </a:cubicBezTo>
                  <a:cubicBezTo>
                    <a:pt x="75" y="15"/>
                    <a:pt x="77" y="15"/>
                    <a:pt x="79" y="15"/>
                  </a:cubicBezTo>
                  <a:cubicBezTo>
                    <a:pt x="79" y="16"/>
                    <a:pt x="79" y="16"/>
                    <a:pt x="79" y="17"/>
                  </a:cubicBezTo>
                  <a:cubicBezTo>
                    <a:pt x="78" y="17"/>
                    <a:pt x="78" y="17"/>
                    <a:pt x="77" y="17"/>
                  </a:cubicBezTo>
                  <a:cubicBezTo>
                    <a:pt x="77" y="18"/>
                    <a:pt x="77" y="18"/>
                    <a:pt x="77" y="19"/>
                  </a:cubicBezTo>
                  <a:cubicBezTo>
                    <a:pt x="76" y="19"/>
                    <a:pt x="76" y="19"/>
                    <a:pt x="75" y="19"/>
                  </a:cubicBezTo>
                  <a:cubicBezTo>
                    <a:pt x="75" y="20"/>
                    <a:pt x="75" y="21"/>
                    <a:pt x="75" y="21"/>
                  </a:cubicBezTo>
                  <a:cubicBezTo>
                    <a:pt x="74" y="21"/>
                    <a:pt x="72" y="21"/>
                    <a:pt x="73" y="23"/>
                  </a:cubicBezTo>
                  <a:cubicBezTo>
                    <a:pt x="71" y="24"/>
                    <a:pt x="71" y="24"/>
                    <a:pt x="70" y="25"/>
                  </a:cubicBezTo>
                  <a:cubicBezTo>
                    <a:pt x="66" y="26"/>
                    <a:pt x="66" y="26"/>
                    <a:pt x="66" y="30"/>
                  </a:cubicBezTo>
                  <a:cubicBezTo>
                    <a:pt x="65" y="29"/>
                    <a:pt x="64" y="30"/>
                    <a:pt x="64" y="32"/>
                  </a:cubicBezTo>
                  <a:cubicBezTo>
                    <a:pt x="62" y="31"/>
                    <a:pt x="62" y="33"/>
                    <a:pt x="62" y="34"/>
                  </a:cubicBezTo>
                  <a:cubicBezTo>
                    <a:pt x="59" y="34"/>
                    <a:pt x="60" y="36"/>
                    <a:pt x="60" y="37"/>
                  </a:cubicBezTo>
                  <a:cubicBezTo>
                    <a:pt x="59" y="37"/>
                    <a:pt x="58" y="37"/>
                    <a:pt x="58" y="37"/>
                  </a:cubicBezTo>
                  <a:close/>
                </a:path>
              </a:pathLst>
            </a:custGeom>
            <a:solidFill>
              <a:srgbClr val="9FAD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5" name="Freeform 1684">
              <a:extLst>
                <a:ext uri="{FF2B5EF4-FFF2-40B4-BE49-F238E27FC236}">
                  <a16:creationId xmlns:a16="http://schemas.microsoft.com/office/drawing/2014/main" id="{569C38CF-6938-455E-B854-973AB5AD7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4" y="1579"/>
              <a:ext cx="66" cy="145"/>
            </a:xfrm>
            <a:custGeom>
              <a:avLst/>
              <a:gdLst>
                <a:gd name="T0" fmla="*/ 42 w 42"/>
                <a:gd name="T1" fmla="*/ 71 h 93"/>
                <a:gd name="T2" fmla="*/ 40 w 42"/>
                <a:gd name="T3" fmla="*/ 72 h 93"/>
                <a:gd name="T4" fmla="*/ 38 w 42"/>
                <a:gd name="T5" fmla="*/ 74 h 93"/>
                <a:gd name="T6" fmla="*/ 36 w 42"/>
                <a:gd name="T7" fmla="*/ 78 h 93"/>
                <a:gd name="T8" fmla="*/ 34 w 42"/>
                <a:gd name="T9" fmla="*/ 80 h 93"/>
                <a:gd name="T10" fmla="*/ 32 w 42"/>
                <a:gd name="T11" fmla="*/ 84 h 93"/>
                <a:gd name="T12" fmla="*/ 30 w 42"/>
                <a:gd name="T13" fmla="*/ 86 h 93"/>
                <a:gd name="T14" fmla="*/ 29 w 42"/>
                <a:gd name="T15" fmla="*/ 88 h 93"/>
                <a:gd name="T16" fmla="*/ 25 w 42"/>
                <a:gd name="T17" fmla="*/ 89 h 93"/>
                <a:gd name="T18" fmla="*/ 25 w 42"/>
                <a:gd name="T19" fmla="*/ 91 h 93"/>
                <a:gd name="T20" fmla="*/ 23 w 42"/>
                <a:gd name="T21" fmla="*/ 93 h 93"/>
                <a:gd name="T22" fmla="*/ 19 w 42"/>
                <a:gd name="T23" fmla="*/ 93 h 93"/>
                <a:gd name="T24" fmla="*/ 18 w 42"/>
                <a:gd name="T25" fmla="*/ 91 h 93"/>
                <a:gd name="T26" fmla="*/ 17 w 42"/>
                <a:gd name="T27" fmla="*/ 90 h 93"/>
                <a:gd name="T28" fmla="*/ 15 w 42"/>
                <a:gd name="T29" fmla="*/ 88 h 93"/>
                <a:gd name="T30" fmla="*/ 13 w 42"/>
                <a:gd name="T31" fmla="*/ 88 h 93"/>
                <a:gd name="T32" fmla="*/ 13 w 42"/>
                <a:gd name="T33" fmla="*/ 86 h 93"/>
                <a:gd name="T34" fmla="*/ 11 w 42"/>
                <a:gd name="T35" fmla="*/ 85 h 93"/>
                <a:gd name="T36" fmla="*/ 11 w 42"/>
                <a:gd name="T37" fmla="*/ 84 h 93"/>
                <a:gd name="T38" fmla="*/ 9 w 42"/>
                <a:gd name="T39" fmla="*/ 82 h 93"/>
                <a:gd name="T40" fmla="*/ 8 w 42"/>
                <a:gd name="T41" fmla="*/ 74 h 93"/>
                <a:gd name="T42" fmla="*/ 6 w 42"/>
                <a:gd name="T43" fmla="*/ 73 h 93"/>
                <a:gd name="T44" fmla="*/ 4 w 42"/>
                <a:gd name="T45" fmla="*/ 72 h 93"/>
                <a:gd name="T46" fmla="*/ 0 w 42"/>
                <a:gd name="T47" fmla="*/ 70 h 93"/>
                <a:gd name="T48" fmla="*/ 8 w 42"/>
                <a:gd name="T49" fmla="*/ 65 h 93"/>
                <a:gd name="T50" fmla="*/ 19 w 42"/>
                <a:gd name="T51" fmla="*/ 53 h 93"/>
                <a:gd name="T52" fmla="*/ 15 w 42"/>
                <a:gd name="T53" fmla="*/ 42 h 93"/>
                <a:gd name="T54" fmla="*/ 27 w 42"/>
                <a:gd name="T55" fmla="*/ 38 h 93"/>
                <a:gd name="T56" fmla="*/ 27 w 42"/>
                <a:gd name="T57" fmla="*/ 31 h 93"/>
                <a:gd name="T58" fmla="*/ 33 w 42"/>
                <a:gd name="T59" fmla="*/ 30 h 93"/>
                <a:gd name="T60" fmla="*/ 34 w 42"/>
                <a:gd name="T61" fmla="*/ 23 h 93"/>
                <a:gd name="T62" fmla="*/ 27 w 42"/>
                <a:gd name="T63" fmla="*/ 21 h 93"/>
                <a:gd name="T64" fmla="*/ 28 w 42"/>
                <a:gd name="T65" fmla="*/ 15 h 93"/>
                <a:gd name="T66" fmla="*/ 30 w 42"/>
                <a:gd name="T67" fmla="*/ 11 h 93"/>
                <a:gd name="T68" fmla="*/ 32 w 42"/>
                <a:gd name="T69" fmla="*/ 9 h 93"/>
                <a:gd name="T70" fmla="*/ 32 w 42"/>
                <a:gd name="T71" fmla="*/ 8 h 93"/>
                <a:gd name="T72" fmla="*/ 38 w 42"/>
                <a:gd name="T73" fmla="*/ 2 h 93"/>
                <a:gd name="T74" fmla="*/ 40 w 42"/>
                <a:gd name="T75" fmla="*/ 0 h 93"/>
                <a:gd name="T76" fmla="*/ 42 w 42"/>
                <a:gd name="T77" fmla="*/ 1 h 93"/>
                <a:gd name="T78" fmla="*/ 42 w 42"/>
                <a:gd name="T79" fmla="*/ 15 h 93"/>
                <a:gd name="T80" fmla="*/ 42 w 42"/>
                <a:gd name="T81" fmla="*/ 16 h 93"/>
                <a:gd name="T82" fmla="*/ 42 w 42"/>
                <a:gd name="T83" fmla="*/ 23 h 93"/>
                <a:gd name="T84" fmla="*/ 42 w 42"/>
                <a:gd name="T85" fmla="*/ 24 h 93"/>
                <a:gd name="T86" fmla="*/ 42 w 42"/>
                <a:gd name="T87" fmla="*/ 30 h 93"/>
                <a:gd name="T88" fmla="*/ 42 w 42"/>
                <a:gd name="T89" fmla="*/ 31 h 93"/>
                <a:gd name="T90" fmla="*/ 38 w 42"/>
                <a:gd name="T91" fmla="*/ 36 h 93"/>
                <a:gd name="T92" fmla="*/ 42 w 42"/>
                <a:gd name="T93" fmla="*/ 44 h 93"/>
                <a:gd name="T94" fmla="*/ 42 w 42"/>
                <a:gd name="T95" fmla="*/ 46 h 93"/>
                <a:gd name="T96" fmla="*/ 42 w 42"/>
                <a:gd name="T97" fmla="*/ 52 h 93"/>
                <a:gd name="T98" fmla="*/ 42 w 42"/>
                <a:gd name="T99" fmla="*/ 53 h 93"/>
                <a:gd name="T100" fmla="*/ 42 w 42"/>
                <a:gd name="T101" fmla="*/ 60 h 93"/>
                <a:gd name="T102" fmla="*/ 42 w 42"/>
                <a:gd name="T103" fmla="*/ 61 h 93"/>
                <a:gd name="T104" fmla="*/ 42 w 42"/>
                <a:gd name="T105" fmla="*/ 67 h 93"/>
                <a:gd name="T106" fmla="*/ 42 w 42"/>
                <a:gd name="T107" fmla="*/ 6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93">
                  <a:moveTo>
                    <a:pt x="42" y="69"/>
                  </a:moveTo>
                  <a:cubicBezTo>
                    <a:pt x="42" y="70"/>
                    <a:pt x="42" y="70"/>
                    <a:pt x="42" y="71"/>
                  </a:cubicBezTo>
                  <a:cubicBezTo>
                    <a:pt x="42" y="72"/>
                    <a:pt x="42" y="72"/>
                    <a:pt x="41" y="72"/>
                  </a:cubicBezTo>
                  <a:cubicBezTo>
                    <a:pt x="41" y="72"/>
                    <a:pt x="40" y="72"/>
                    <a:pt x="40" y="72"/>
                  </a:cubicBezTo>
                  <a:cubicBezTo>
                    <a:pt x="40" y="73"/>
                    <a:pt x="40" y="74"/>
                    <a:pt x="40" y="74"/>
                  </a:cubicBezTo>
                  <a:cubicBezTo>
                    <a:pt x="39" y="74"/>
                    <a:pt x="39" y="74"/>
                    <a:pt x="38" y="74"/>
                  </a:cubicBezTo>
                  <a:cubicBezTo>
                    <a:pt x="38" y="76"/>
                    <a:pt x="38" y="77"/>
                    <a:pt x="36" y="76"/>
                  </a:cubicBezTo>
                  <a:cubicBezTo>
                    <a:pt x="36" y="77"/>
                    <a:pt x="36" y="77"/>
                    <a:pt x="36" y="78"/>
                  </a:cubicBezTo>
                  <a:cubicBezTo>
                    <a:pt x="36" y="78"/>
                    <a:pt x="35" y="78"/>
                    <a:pt x="34" y="78"/>
                  </a:cubicBezTo>
                  <a:cubicBezTo>
                    <a:pt x="34" y="79"/>
                    <a:pt x="34" y="79"/>
                    <a:pt x="34" y="80"/>
                  </a:cubicBezTo>
                  <a:cubicBezTo>
                    <a:pt x="32" y="80"/>
                    <a:pt x="32" y="80"/>
                    <a:pt x="32" y="82"/>
                  </a:cubicBezTo>
                  <a:cubicBezTo>
                    <a:pt x="32" y="83"/>
                    <a:pt x="32" y="83"/>
                    <a:pt x="32" y="84"/>
                  </a:cubicBezTo>
                  <a:cubicBezTo>
                    <a:pt x="32" y="84"/>
                    <a:pt x="31" y="84"/>
                    <a:pt x="30" y="84"/>
                  </a:cubicBezTo>
                  <a:cubicBezTo>
                    <a:pt x="30" y="84"/>
                    <a:pt x="30" y="85"/>
                    <a:pt x="30" y="86"/>
                  </a:cubicBezTo>
                  <a:cubicBezTo>
                    <a:pt x="30" y="86"/>
                    <a:pt x="29" y="86"/>
                    <a:pt x="29" y="86"/>
                  </a:cubicBezTo>
                  <a:cubicBezTo>
                    <a:pt x="29" y="86"/>
                    <a:pt x="29" y="87"/>
                    <a:pt x="29" y="88"/>
                  </a:cubicBezTo>
                  <a:cubicBezTo>
                    <a:pt x="28" y="88"/>
                    <a:pt x="27" y="88"/>
                    <a:pt x="27" y="88"/>
                  </a:cubicBezTo>
                  <a:cubicBezTo>
                    <a:pt x="27" y="89"/>
                    <a:pt x="26" y="90"/>
                    <a:pt x="25" y="89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91"/>
                    <a:pt x="25" y="91"/>
                    <a:pt x="25" y="91"/>
                  </a:cubicBezTo>
                  <a:cubicBezTo>
                    <a:pt x="24" y="91"/>
                    <a:pt x="24" y="91"/>
                    <a:pt x="23" y="92"/>
                  </a:cubicBezTo>
                  <a:cubicBezTo>
                    <a:pt x="23" y="92"/>
                    <a:pt x="23" y="93"/>
                    <a:pt x="23" y="93"/>
                  </a:cubicBezTo>
                  <a:cubicBezTo>
                    <a:pt x="22" y="93"/>
                    <a:pt x="22" y="93"/>
                    <a:pt x="21" y="93"/>
                  </a:cubicBezTo>
                  <a:cubicBezTo>
                    <a:pt x="20" y="93"/>
                    <a:pt x="20" y="93"/>
                    <a:pt x="19" y="93"/>
                  </a:cubicBezTo>
                  <a:cubicBezTo>
                    <a:pt x="19" y="93"/>
                    <a:pt x="19" y="92"/>
                    <a:pt x="19" y="92"/>
                  </a:cubicBezTo>
                  <a:cubicBezTo>
                    <a:pt x="19" y="91"/>
                    <a:pt x="18" y="91"/>
                    <a:pt x="18" y="91"/>
                  </a:cubicBezTo>
                  <a:cubicBezTo>
                    <a:pt x="17" y="92"/>
                    <a:pt x="17" y="91"/>
                    <a:pt x="17" y="91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6" y="90"/>
                    <a:pt x="15" y="89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4" y="88"/>
                    <a:pt x="14" y="88"/>
                    <a:pt x="13" y="88"/>
                  </a:cubicBezTo>
                  <a:cubicBezTo>
                    <a:pt x="13" y="87"/>
                    <a:pt x="13" y="87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2" y="86"/>
                    <a:pt x="12" y="86"/>
                    <a:pt x="11" y="8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0" y="84"/>
                    <a:pt x="10" y="84"/>
                    <a:pt x="10" y="83"/>
                  </a:cubicBezTo>
                  <a:cubicBezTo>
                    <a:pt x="10" y="82"/>
                    <a:pt x="9" y="82"/>
                    <a:pt x="9" y="82"/>
                  </a:cubicBezTo>
                  <a:cubicBezTo>
                    <a:pt x="8" y="82"/>
                    <a:pt x="8" y="82"/>
                    <a:pt x="8" y="81"/>
                  </a:cubicBezTo>
                  <a:cubicBezTo>
                    <a:pt x="8" y="79"/>
                    <a:pt x="8" y="76"/>
                    <a:pt x="8" y="74"/>
                  </a:cubicBezTo>
                  <a:cubicBezTo>
                    <a:pt x="7" y="74"/>
                    <a:pt x="6" y="74"/>
                    <a:pt x="6" y="74"/>
                  </a:cubicBezTo>
                  <a:cubicBezTo>
                    <a:pt x="6" y="74"/>
                    <a:pt x="6" y="73"/>
                    <a:pt x="6" y="73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5" y="72"/>
                    <a:pt x="4" y="72"/>
                    <a:pt x="4" y="72"/>
                  </a:cubicBezTo>
                  <a:cubicBezTo>
                    <a:pt x="4" y="72"/>
                    <a:pt x="4" y="71"/>
                    <a:pt x="4" y="70"/>
                  </a:cubicBezTo>
                  <a:cubicBezTo>
                    <a:pt x="3" y="70"/>
                    <a:pt x="1" y="70"/>
                    <a:pt x="0" y="70"/>
                  </a:cubicBezTo>
                  <a:cubicBezTo>
                    <a:pt x="0" y="69"/>
                    <a:pt x="0" y="67"/>
                    <a:pt x="0" y="65"/>
                  </a:cubicBezTo>
                  <a:cubicBezTo>
                    <a:pt x="3" y="65"/>
                    <a:pt x="5" y="65"/>
                    <a:pt x="8" y="65"/>
                  </a:cubicBezTo>
                  <a:cubicBezTo>
                    <a:pt x="8" y="61"/>
                    <a:pt x="8" y="57"/>
                    <a:pt x="8" y="53"/>
                  </a:cubicBezTo>
                  <a:cubicBezTo>
                    <a:pt x="11" y="53"/>
                    <a:pt x="15" y="53"/>
                    <a:pt x="19" y="53"/>
                  </a:cubicBezTo>
                  <a:cubicBezTo>
                    <a:pt x="19" y="49"/>
                    <a:pt x="19" y="46"/>
                    <a:pt x="19" y="42"/>
                  </a:cubicBezTo>
                  <a:cubicBezTo>
                    <a:pt x="18" y="42"/>
                    <a:pt x="17" y="42"/>
                    <a:pt x="15" y="42"/>
                  </a:cubicBezTo>
                  <a:cubicBezTo>
                    <a:pt x="15" y="41"/>
                    <a:pt x="15" y="39"/>
                    <a:pt x="15" y="38"/>
                  </a:cubicBezTo>
                  <a:cubicBezTo>
                    <a:pt x="19" y="38"/>
                    <a:pt x="23" y="38"/>
                    <a:pt x="27" y="38"/>
                  </a:cubicBezTo>
                  <a:cubicBezTo>
                    <a:pt x="27" y="37"/>
                    <a:pt x="27" y="35"/>
                    <a:pt x="27" y="34"/>
                  </a:cubicBezTo>
                  <a:cubicBezTo>
                    <a:pt x="27" y="33"/>
                    <a:pt x="27" y="32"/>
                    <a:pt x="27" y="31"/>
                  </a:cubicBezTo>
                  <a:cubicBezTo>
                    <a:pt x="27" y="31"/>
                    <a:pt x="27" y="30"/>
                    <a:pt x="27" y="30"/>
                  </a:cubicBezTo>
                  <a:cubicBezTo>
                    <a:pt x="29" y="30"/>
                    <a:pt x="31" y="30"/>
                    <a:pt x="33" y="30"/>
                  </a:cubicBezTo>
                  <a:cubicBezTo>
                    <a:pt x="34" y="30"/>
                    <a:pt x="34" y="30"/>
                    <a:pt x="34" y="31"/>
                  </a:cubicBezTo>
                  <a:cubicBezTo>
                    <a:pt x="34" y="28"/>
                    <a:pt x="34" y="26"/>
                    <a:pt x="34" y="23"/>
                  </a:cubicBezTo>
                  <a:cubicBezTo>
                    <a:pt x="32" y="23"/>
                    <a:pt x="29" y="23"/>
                    <a:pt x="27" y="23"/>
                  </a:cubicBezTo>
                  <a:cubicBezTo>
                    <a:pt x="27" y="22"/>
                    <a:pt x="27" y="21"/>
                    <a:pt x="27" y="21"/>
                  </a:cubicBezTo>
                  <a:cubicBezTo>
                    <a:pt x="27" y="19"/>
                    <a:pt x="27" y="18"/>
                    <a:pt x="27" y="16"/>
                  </a:cubicBezTo>
                  <a:cubicBezTo>
                    <a:pt x="27" y="15"/>
                    <a:pt x="27" y="15"/>
                    <a:pt x="28" y="15"/>
                  </a:cubicBezTo>
                  <a:cubicBezTo>
                    <a:pt x="28" y="15"/>
                    <a:pt x="29" y="15"/>
                    <a:pt x="30" y="15"/>
                  </a:cubicBezTo>
                  <a:cubicBezTo>
                    <a:pt x="30" y="14"/>
                    <a:pt x="30" y="12"/>
                    <a:pt x="30" y="11"/>
                  </a:cubicBezTo>
                  <a:cubicBezTo>
                    <a:pt x="30" y="10"/>
                    <a:pt x="30" y="10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4" y="8"/>
                    <a:pt x="36" y="8"/>
                    <a:pt x="38" y="8"/>
                  </a:cubicBezTo>
                  <a:cubicBezTo>
                    <a:pt x="38" y="6"/>
                    <a:pt x="38" y="4"/>
                    <a:pt x="38" y="2"/>
                  </a:cubicBezTo>
                  <a:cubicBezTo>
                    <a:pt x="38" y="1"/>
                    <a:pt x="38" y="0"/>
                    <a:pt x="38" y="0"/>
                  </a:cubicBezTo>
                  <a:cubicBezTo>
                    <a:pt x="39" y="0"/>
                    <a:pt x="40" y="0"/>
                    <a:pt x="40" y="0"/>
                  </a:cubicBezTo>
                  <a:cubicBezTo>
                    <a:pt x="40" y="0"/>
                    <a:pt x="41" y="0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6"/>
                    <a:pt x="42" y="10"/>
                    <a:pt x="42" y="14"/>
                  </a:cubicBezTo>
                  <a:cubicBezTo>
                    <a:pt x="42" y="14"/>
                    <a:pt x="42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2" y="18"/>
                    <a:pt x="42" y="20"/>
                    <a:pt x="42" y="21"/>
                  </a:cubicBezTo>
                  <a:cubicBezTo>
                    <a:pt x="42" y="22"/>
                    <a:pt x="42" y="22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4"/>
                    <a:pt x="42" y="24"/>
                  </a:cubicBezTo>
                  <a:cubicBezTo>
                    <a:pt x="42" y="26"/>
                    <a:pt x="42" y="27"/>
                    <a:pt x="42" y="29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2" y="31"/>
                    <a:pt x="42" y="31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3"/>
                    <a:pt x="42" y="35"/>
                    <a:pt x="42" y="36"/>
                  </a:cubicBezTo>
                  <a:cubicBezTo>
                    <a:pt x="41" y="36"/>
                    <a:pt x="39" y="36"/>
                    <a:pt x="38" y="36"/>
                  </a:cubicBezTo>
                  <a:cubicBezTo>
                    <a:pt x="38" y="39"/>
                    <a:pt x="38" y="41"/>
                    <a:pt x="38" y="44"/>
                  </a:cubicBezTo>
                  <a:cubicBezTo>
                    <a:pt x="39" y="44"/>
                    <a:pt x="41" y="44"/>
                    <a:pt x="42" y="44"/>
                  </a:cubicBezTo>
                  <a:cubicBezTo>
                    <a:pt x="42" y="44"/>
                    <a:pt x="42" y="45"/>
                    <a:pt x="42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2" y="47"/>
                  </a:cubicBezTo>
                  <a:cubicBezTo>
                    <a:pt x="42" y="48"/>
                    <a:pt x="42" y="50"/>
                    <a:pt x="42" y="52"/>
                  </a:cubicBezTo>
                  <a:cubicBezTo>
                    <a:pt x="42" y="52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6"/>
                    <a:pt x="42" y="58"/>
                    <a:pt x="42" y="60"/>
                  </a:cubicBezTo>
                  <a:cubicBezTo>
                    <a:pt x="42" y="60"/>
                    <a:pt x="42" y="60"/>
                    <a:pt x="42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61"/>
                    <a:pt x="42" y="62"/>
                    <a:pt x="42" y="62"/>
                  </a:cubicBezTo>
                  <a:cubicBezTo>
                    <a:pt x="42" y="64"/>
                    <a:pt x="42" y="66"/>
                    <a:pt x="42" y="67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2" y="69"/>
                    <a:pt x="42" y="69"/>
                    <a:pt x="42" y="69"/>
                  </a:cubicBezTo>
                  <a:close/>
                </a:path>
              </a:pathLst>
            </a:custGeom>
            <a:solidFill>
              <a:srgbClr val="9FAD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6" name="Freeform 1685">
              <a:extLst>
                <a:ext uri="{FF2B5EF4-FFF2-40B4-BE49-F238E27FC236}">
                  <a16:creationId xmlns:a16="http://schemas.microsoft.com/office/drawing/2014/main" id="{FA9D3D17-7BB8-476C-B096-D85E439EDF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6" y="1687"/>
              <a:ext cx="91" cy="111"/>
            </a:xfrm>
            <a:custGeom>
              <a:avLst/>
              <a:gdLst>
                <a:gd name="T0" fmla="*/ 24 w 58"/>
                <a:gd name="T1" fmla="*/ 58 h 71"/>
                <a:gd name="T2" fmla="*/ 23 w 58"/>
                <a:gd name="T3" fmla="*/ 63 h 71"/>
                <a:gd name="T4" fmla="*/ 16 w 58"/>
                <a:gd name="T5" fmla="*/ 64 h 71"/>
                <a:gd name="T6" fmla="*/ 15 w 58"/>
                <a:gd name="T7" fmla="*/ 71 h 71"/>
                <a:gd name="T8" fmla="*/ 8 w 58"/>
                <a:gd name="T9" fmla="*/ 48 h 71"/>
                <a:gd name="T10" fmla="*/ 0 w 58"/>
                <a:gd name="T11" fmla="*/ 34 h 71"/>
                <a:gd name="T12" fmla="*/ 2 w 58"/>
                <a:gd name="T13" fmla="*/ 32 h 71"/>
                <a:gd name="T14" fmla="*/ 8 w 58"/>
                <a:gd name="T15" fmla="*/ 35 h 71"/>
                <a:gd name="T16" fmla="*/ 16 w 58"/>
                <a:gd name="T17" fmla="*/ 28 h 71"/>
                <a:gd name="T18" fmla="*/ 24 w 58"/>
                <a:gd name="T19" fmla="*/ 20 h 71"/>
                <a:gd name="T20" fmla="*/ 16 w 58"/>
                <a:gd name="T21" fmla="*/ 23 h 71"/>
                <a:gd name="T22" fmla="*/ 12 w 58"/>
                <a:gd name="T23" fmla="*/ 22 h 71"/>
                <a:gd name="T24" fmla="*/ 12 w 58"/>
                <a:gd name="T25" fmla="*/ 20 h 71"/>
                <a:gd name="T26" fmla="*/ 14 w 58"/>
                <a:gd name="T27" fmla="*/ 19 h 71"/>
                <a:gd name="T28" fmla="*/ 16 w 58"/>
                <a:gd name="T29" fmla="*/ 18 h 71"/>
                <a:gd name="T30" fmla="*/ 24 w 58"/>
                <a:gd name="T31" fmla="*/ 16 h 71"/>
                <a:gd name="T32" fmla="*/ 24 w 58"/>
                <a:gd name="T33" fmla="*/ 5 h 71"/>
                <a:gd name="T34" fmla="*/ 26 w 58"/>
                <a:gd name="T35" fmla="*/ 4 h 71"/>
                <a:gd name="T36" fmla="*/ 26 w 58"/>
                <a:gd name="T37" fmla="*/ 2 h 71"/>
                <a:gd name="T38" fmla="*/ 28 w 58"/>
                <a:gd name="T39" fmla="*/ 1 h 71"/>
                <a:gd name="T40" fmla="*/ 32 w 58"/>
                <a:gd name="T41" fmla="*/ 2 h 71"/>
                <a:gd name="T42" fmla="*/ 34 w 58"/>
                <a:gd name="T43" fmla="*/ 4 h 71"/>
                <a:gd name="T44" fmla="*/ 36 w 58"/>
                <a:gd name="T45" fmla="*/ 6 h 71"/>
                <a:gd name="T46" fmla="*/ 37 w 58"/>
                <a:gd name="T47" fmla="*/ 10 h 71"/>
                <a:gd name="T48" fmla="*/ 38 w 58"/>
                <a:gd name="T49" fmla="*/ 11 h 71"/>
                <a:gd name="T50" fmla="*/ 44 w 58"/>
                <a:gd name="T51" fmla="*/ 12 h 71"/>
                <a:gd name="T52" fmla="*/ 45 w 58"/>
                <a:gd name="T53" fmla="*/ 14 h 71"/>
                <a:gd name="T54" fmla="*/ 47 w 58"/>
                <a:gd name="T55" fmla="*/ 16 h 71"/>
                <a:gd name="T56" fmla="*/ 48 w 58"/>
                <a:gd name="T57" fmla="*/ 16 h 71"/>
                <a:gd name="T58" fmla="*/ 50 w 58"/>
                <a:gd name="T59" fmla="*/ 18 h 71"/>
                <a:gd name="T60" fmla="*/ 50 w 58"/>
                <a:gd name="T61" fmla="*/ 20 h 71"/>
                <a:gd name="T62" fmla="*/ 53 w 58"/>
                <a:gd name="T63" fmla="*/ 22 h 71"/>
                <a:gd name="T64" fmla="*/ 55 w 58"/>
                <a:gd name="T65" fmla="*/ 24 h 71"/>
                <a:gd name="T66" fmla="*/ 57 w 58"/>
                <a:gd name="T67" fmla="*/ 26 h 71"/>
                <a:gd name="T68" fmla="*/ 58 w 58"/>
                <a:gd name="T69" fmla="*/ 27 h 71"/>
                <a:gd name="T70" fmla="*/ 56 w 58"/>
                <a:gd name="T71" fmla="*/ 28 h 71"/>
                <a:gd name="T72" fmla="*/ 54 w 58"/>
                <a:gd name="T73" fmla="*/ 30 h 71"/>
                <a:gd name="T74" fmla="*/ 52 w 58"/>
                <a:gd name="T75" fmla="*/ 32 h 71"/>
                <a:gd name="T76" fmla="*/ 50 w 58"/>
                <a:gd name="T77" fmla="*/ 34 h 71"/>
                <a:gd name="T78" fmla="*/ 48 w 58"/>
                <a:gd name="T79" fmla="*/ 35 h 71"/>
                <a:gd name="T80" fmla="*/ 46 w 58"/>
                <a:gd name="T81" fmla="*/ 37 h 71"/>
                <a:gd name="T82" fmla="*/ 44 w 58"/>
                <a:gd name="T83" fmla="*/ 39 h 71"/>
                <a:gd name="T84" fmla="*/ 42 w 58"/>
                <a:gd name="T85" fmla="*/ 41 h 71"/>
                <a:gd name="T86" fmla="*/ 40 w 58"/>
                <a:gd name="T87" fmla="*/ 43 h 71"/>
                <a:gd name="T88" fmla="*/ 38 w 58"/>
                <a:gd name="T89" fmla="*/ 46 h 71"/>
                <a:gd name="T90" fmla="*/ 36 w 58"/>
                <a:gd name="T91" fmla="*/ 48 h 71"/>
                <a:gd name="T92" fmla="*/ 34 w 58"/>
                <a:gd name="T93" fmla="*/ 50 h 71"/>
                <a:gd name="T94" fmla="*/ 32 w 58"/>
                <a:gd name="T95" fmla="*/ 51 h 71"/>
                <a:gd name="T96" fmla="*/ 30 w 58"/>
                <a:gd name="T97" fmla="*/ 53 h 71"/>
                <a:gd name="T98" fmla="*/ 24 w 58"/>
                <a:gd name="T99" fmla="*/ 55 h 71"/>
                <a:gd name="T100" fmla="*/ 32 w 58"/>
                <a:gd name="T101" fmla="*/ 16 h 71"/>
                <a:gd name="T102" fmla="*/ 29 w 58"/>
                <a:gd name="T103" fmla="*/ 7 h 71"/>
                <a:gd name="T104" fmla="*/ 28 w 58"/>
                <a:gd name="T105" fmla="*/ 1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" h="71">
                  <a:moveTo>
                    <a:pt x="24" y="55"/>
                  </a:moveTo>
                  <a:cubicBezTo>
                    <a:pt x="24" y="56"/>
                    <a:pt x="24" y="57"/>
                    <a:pt x="24" y="58"/>
                  </a:cubicBezTo>
                  <a:cubicBezTo>
                    <a:pt x="24" y="59"/>
                    <a:pt x="24" y="61"/>
                    <a:pt x="24" y="62"/>
                  </a:cubicBezTo>
                  <a:cubicBezTo>
                    <a:pt x="24" y="63"/>
                    <a:pt x="24" y="63"/>
                    <a:pt x="23" y="63"/>
                  </a:cubicBezTo>
                  <a:cubicBezTo>
                    <a:pt x="21" y="63"/>
                    <a:pt x="19" y="63"/>
                    <a:pt x="17" y="63"/>
                  </a:cubicBezTo>
                  <a:cubicBezTo>
                    <a:pt x="16" y="63"/>
                    <a:pt x="16" y="64"/>
                    <a:pt x="16" y="64"/>
                  </a:cubicBezTo>
                  <a:cubicBezTo>
                    <a:pt x="16" y="66"/>
                    <a:pt x="16" y="68"/>
                    <a:pt x="16" y="70"/>
                  </a:cubicBezTo>
                  <a:cubicBezTo>
                    <a:pt x="16" y="71"/>
                    <a:pt x="16" y="71"/>
                    <a:pt x="15" y="71"/>
                  </a:cubicBezTo>
                  <a:cubicBezTo>
                    <a:pt x="13" y="71"/>
                    <a:pt x="11" y="71"/>
                    <a:pt x="8" y="71"/>
                  </a:cubicBezTo>
                  <a:cubicBezTo>
                    <a:pt x="8" y="63"/>
                    <a:pt x="8" y="56"/>
                    <a:pt x="8" y="48"/>
                  </a:cubicBezTo>
                  <a:cubicBezTo>
                    <a:pt x="6" y="48"/>
                    <a:pt x="3" y="48"/>
                    <a:pt x="0" y="48"/>
                  </a:cubicBezTo>
                  <a:cubicBezTo>
                    <a:pt x="0" y="43"/>
                    <a:pt x="0" y="38"/>
                    <a:pt x="0" y="34"/>
                  </a:cubicBezTo>
                  <a:cubicBezTo>
                    <a:pt x="1" y="34"/>
                    <a:pt x="2" y="34"/>
                    <a:pt x="2" y="34"/>
                  </a:cubicBezTo>
                  <a:cubicBezTo>
                    <a:pt x="2" y="33"/>
                    <a:pt x="2" y="32"/>
                    <a:pt x="2" y="32"/>
                  </a:cubicBezTo>
                  <a:cubicBezTo>
                    <a:pt x="4" y="32"/>
                    <a:pt x="6" y="32"/>
                    <a:pt x="8" y="32"/>
                  </a:cubicBezTo>
                  <a:cubicBezTo>
                    <a:pt x="8" y="33"/>
                    <a:pt x="8" y="34"/>
                    <a:pt x="8" y="35"/>
                  </a:cubicBezTo>
                  <a:cubicBezTo>
                    <a:pt x="11" y="35"/>
                    <a:pt x="13" y="35"/>
                    <a:pt x="16" y="35"/>
                  </a:cubicBezTo>
                  <a:cubicBezTo>
                    <a:pt x="16" y="33"/>
                    <a:pt x="16" y="30"/>
                    <a:pt x="16" y="28"/>
                  </a:cubicBezTo>
                  <a:cubicBezTo>
                    <a:pt x="19" y="28"/>
                    <a:pt x="21" y="28"/>
                    <a:pt x="24" y="28"/>
                  </a:cubicBezTo>
                  <a:cubicBezTo>
                    <a:pt x="24" y="25"/>
                    <a:pt x="24" y="22"/>
                    <a:pt x="24" y="20"/>
                  </a:cubicBezTo>
                  <a:cubicBezTo>
                    <a:pt x="21" y="20"/>
                    <a:pt x="19" y="20"/>
                    <a:pt x="16" y="20"/>
                  </a:cubicBezTo>
                  <a:cubicBezTo>
                    <a:pt x="16" y="21"/>
                    <a:pt x="16" y="22"/>
                    <a:pt x="16" y="23"/>
                  </a:cubicBezTo>
                  <a:cubicBezTo>
                    <a:pt x="14" y="23"/>
                    <a:pt x="12" y="23"/>
                    <a:pt x="10" y="23"/>
                  </a:cubicBezTo>
                  <a:cubicBezTo>
                    <a:pt x="10" y="22"/>
                    <a:pt x="10" y="22"/>
                    <a:pt x="12" y="22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0"/>
                    <a:pt x="12" y="20"/>
                  </a:cubicBezTo>
                  <a:cubicBezTo>
                    <a:pt x="13" y="20"/>
                    <a:pt x="13" y="20"/>
                    <a:pt x="14" y="20"/>
                  </a:cubicBezTo>
                  <a:cubicBezTo>
                    <a:pt x="14" y="20"/>
                    <a:pt x="14" y="19"/>
                    <a:pt x="14" y="19"/>
                  </a:cubicBezTo>
                  <a:cubicBezTo>
                    <a:pt x="14" y="19"/>
                    <a:pt x="14" y="18"/>
                    <a:pt x="14" y="18"/>
                  </a:cubicBezTo>
                  <a:cubicBezTo>
                    <a:pt x="15" y="18"/>
                    <a:pt x="16" y="18"/>
                    <a:pt x="16" y="18"/>
                  </a:cubicBezTo>
                  <a:cubicBezTo>
                    <a:pt x="16" y="17"/>
                    <a:pt x="16" y="16"/>
                    <a:pt x="16" y="16"/>
                  </a:cubicBezTo>
                  <a:cubicBezTo>
                    <a:pt x="19" y="16"/>
                    <a:pt x="21" y="16"/>
                    <a:pt x="24" y="16"/>
                  </a:cubicBezTo>
                  <a:cubicBezTo>
                    <a:pt x="24" y="15"/>
                    <a:pt x="24" y="15"/>
                    <a:pt x="24" y="14"/>
                  </a:cubicBezTo>
                  <a:cubicBezTo>
                    <a:pt x="24" y="11"/>
                    <a:pt x="24" y="8"/>
                    <a:pt x="24" y="5"/>
                  </a:cubicBezTo>
                  <a:cubicBezTo>
                    <a:pt x="24" y="4"/>
                    <a:pt x="24" y="4"/>
                    <a:pt x="25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7" y="2"/>
                    <a:pt x="27" y="2"/>
                    <a:pt x="28" y="2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8" y="0"/>
                    <a:pt x="28" y="0"/>
                    <a:pt x="30" y="0"/>
                  </a:cubicBezTo>
                  <a:cubicBezTo>
                    <a:pt x="32" y="0"/>
                    <a:pt x="32" y="0"/>
                    <a:pt x="32" y="2"/>
                  </a:cubicBezTo>
                  <a:cubicBezTo>
                    <a:pt x="32" y="3"/>
                    <a:pt x="32" y="3"/>
                    <a:pt x="32" y="4"/>
                  </a:cubicBezTo>
                  <a:cubicBezTo>
                    <a:pt x="33" y="4"/>
                    <a:pt x="33" y="4"/>
                    <a:pt x="34" y="4"/>
                  </a:cubicBezTo>
                  <a:cubicBezTo>
                    <a:pt x="34" y="4"/>
                    <a:pt x="34" y="5"/>
                    <a:pt x="34" y="6"/>
                  </a:cubicBezTo>
                  <a:cubicBezTo>
                    <a:pt x="35" y="6"/>
                    <a:pt x="35" y="6"/>
                    <a:pt x="36" y="6"/>
                  </a:cubicBezTo>
                  <a:cubicBezTo>
                    <a:pt x="36" y="7"/>
                    <a:pt x="36" y="8"/>
                    <a:pt x="36" y="9"/>
                  </a:cubicBezTo>
                  <a:cubicBezTo>
                    <a:pt x="36" y="9"/>
                    <a:pt x="36" y="10"/>
                    <a:pt x="37" y="10"/>
                  </a:cubicBezTo>
                  <a:cubicBezTo>
                    <a:pt x="37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1"/>
                  </a:cubicBezTo>
                  <a:cubicBezTo>
                    <a:pt x="38" y="11"/>
                    <a:pt x="38" y="12"/>
                    <a:pt x="39" y="12"/>
                  </a:cubicBezTo>
                  <a:cubicBezTo>
                    <a:pt x="40" y="12"/>
                    <a:pt x="42" y="12"/>
                    <a:pt x="44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3"/>
                    <a:pt x="44" y="14"/>
                    <a:pt x="45" y="14"/>
                  </a:cubicBezTo>
                  <a:cubicBezTo>
                    <a:pt x="46" y="13"/>
                    <a:pt x="46" y="14"/>
                    <a:pt x="46" y="14"/>
                  </a:cubicBezTo>
                  <a:cubicBezTo>
                    <a:pt x="46" y="16"/>
                    <a:pt x="46" y="16"/>
                    <a:pt x="47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7"/>
                    <a:pt x="48" y="18"/>
                    <a:pt x="49" y="18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0" y="19"/>
                    <a:pt x="50" y="19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2" y="20"/>
                    <a:pt x="52" y="20"/>
                    <a:pt x="52" y="21"/>
                  </a:cubicBezTo>
                  <a:cubicBezTo>
                    <a:pt x="52" y="21"/>
                    <a:pt x="52" y="22"/>
                    <a:pt x="53" y="22"/>
                  </a:cubicBezTo>
                  <a:cubicBezTo>
                    <a:pt x="54" y="22"/>
                    <a:pt x="54" y="22"/>
                    <a:pt x="54" y="23"/>
                  </a:cubicBezTo>
                  <a:cubicBezTo>
                    <a:pt x="54" y="24"/>
                    <a:pt x="54" y="24"/>
                    <a:pt x="55" y="24"/>
                  </a:cubicBezTo>
                  <a:cubicBezTo>
                    <a:pt x="55" y="24"/>
                    <a:pt x="56" y="23"/>
                    <a:pt x="56" y="24"/>
                  </a:cubicBezTo>
                  <a:cubicBezTo>
                    <a:pt x="56" y="26"/>
                    <a:pt x="56" y="26"/>
                    <a:pt x="57" y="26"/>
                  </a:cubicBezTo>
                  <a:cubicBezTo>
                    <a:pt x="57" y="26"/>
                    <a:pt x="58" y="26"/>
                    <a:pt x="58" y="26"/>
                  </a:cubicBezTo>
                  <a:cubicBezTo>
                    <a:pt x="58" y="26"/>
                    <a:pt x="58" y="27"/>
                    <a:pt x="58" y="27"/>
                  </a:cubicBezTo>
                  <a:cubicBezTo>
                    <a:pt x="57" y="27"/>
                    <a:pt x="57" y="27"/>
                    <a:pt x="56" y="27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6" y="29"/>
                    <a:pt x="56" y="29"/>
                    <a:pt x="55" y="30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1"/>
                    <a:pt x="54" y="32"/>
                    <a:pt x="53" y="31"/>
                  </a:cubicBezTo>
                  <a:cubicBezTo>
                    <a:pt x="52" y="31"/>
                    <a:pt x="52" y="32"/>
                    <a:pt x="52" y="32"/>
                  </a:cubicBezTo>
                  <a:cubicBezTo>
                    <a:pt x="52" y="32"/>
                    <a:pt x="52" y="33"/>
                    <a:pt x="52" y="33"/>
                  </a:cubicBezTo>
                  <a:cubicBezTo>
                    <a:pt x="51" y="33"/>
                    <a:pt x="51" y="33"/>
                    <a:pt x="50" y="34"/>
                  </a:cubicBezTo>
                  <a:cubicBezTo>
                    <a:pt x="50" y="34"/>
                    <a:pt x="50" y="35"/>
                    <a:pt x="50" y="35"/>
                  </a:cubicBezTo>
                  <a:cubicBezTo>
                    <a:pt x="49" y="35"/>
                    <a:pt x="49" y="35"/>
                    <a:pt x="48" y="35"/>
                  </a:cubicBezTo>
                  <a:cubicBezTo>
                    <a:pt x="48" y="36"/>
                    <a:pt x="48" y="37"/>
                    <a:pt x="48" y="37"/>
                  </a:cubicBezTo>
                  <a:cubicBezTo>
                    <a:pt x="47" y="37"/>
                    <a:pt x="47" y="37"/>
                    <a:pt x="46" y="37"/>
                  </a:cubicBezTo>
                  <a:cubicBezTo>
                    <a:pt x="46" y="38"/>
                    <a:pt x="46" y="39"/>
                    <a:pt x="46" y="39"/>
                  </a:cubicBezTo>
                  <a:cubicBezTo>
                    <a:pt x="45" y="39"/>
                    <a:pt x="45" y="39"/>
                    <a:pt x="44" y="39"/>
                  </a:cubicBezTo>
                  <a:cubicBezTo>
                    <a:pt x="44" y="40"/>
                    <a:pt x="44" y="41"/>
                    <a:pt x="44" y="41"/>
                  </a:cubicBezTo>
                  <a:cubicBezTo>
                    <a:pt x="43" y="41"/>
                    <a:pt x="43" y="41"/>
                    <a:pt x="42" y="41"/>
                  </a:cubicBezTo>
                  <a:cubicBezTo>
                    <a:pt x="42" y="42"/>
                    <a:pt x="42" y="43"/>
                    <a:pt x="42" y="43"/>
                  </a:cubicBezTo>
                  <a:cubicBezTo>
                    <a:pt x="41" y="43"/>
                    <a:pt x="41" y="43"/>
                    <a:pt x="40" y="43"/>
                  </a:cubicBezTo>
                  <a:cubicBezTo>
                    <a:pt x="40" y="44"/>
                    <a:pt x="40" y="45"/>
                    <a:pt x="40" y="45"/>
                  </a:cubicBezTo>
                  <a:cubicBezTo>
                    <a:pt x="39" y="45"/>
                    <a:pt x="38" y="45"/>
                    <a:pt x="38" y="46"/>
                  </a:cubicBezTo>
                  <a:cubicBezTo>
                    <a:pt x="38" y="46"/>
                    <a:pt x="38" y="47"/>
                    <a:pt x="38" y="47"/>
                  </a:cubicBezTo>
                  <a:cubicBezTo>
                    <a:pt x="37" y="47"/>
                    <a:pt x="37" y="47"/>
                    <a:pt x="36" y="48"/>
                  </a:cubicBezTo>
                  <a:cubicBezTo>
                    <a:pt x="36" y="48"/>
                    <a:pt x="36" y="49"/>
                    <a:pt x="36" y="49"/>
                  </a:cubicBezTo>
                  <a:cubicBezTo>
                    <a:pt x="35" y="49"/>
                    <a:pt x="34" y="49"/>
                    <a:pt x="34" y="50"/>
                  </a:cubicBezTo>
                  <a:cubicBezTo>
                    <a:pt x="34" y="50"/>
                    <a:pt x="34" y="51"/>
                    <a:pt x="34" y="51"/>
                  </a:cubicBezTo>
                  <a:cubicBezTo>
                    <a:pt x="33" y="51"/>
                    <a:pt x="33" y="51"/>
                    <a:pt x="32" y="51"/>
                  </a:cubicBezTo>
                  <a:cubicBezTo>
                    <a:pt x="32" y="52"/>
                    <a:pt x="32" y="53"/>
                    <a:pt x="32" y="53"/>
                  </a:cubicBezTo>
                  <a:cubicBezTo>
                    <a:pt x="31" y="53"/>
                    <a:pt x="31" y="53"/>
                    <a:pt x="30" y="53"/>
                  </a:cubicBezTo>
                  <a:cubicBezTo>
                    <a:pt x="30" y="54"/>
                    <a:pt x="30" y="55"/>
                    <a:pt x="30" y="55"/>
                  </a:cubicBezTo>
                  <a:cubicBezTo>
                    <a:pt x="28" y="55"/>
                    <a:pt x="26" y="55"/>
                    <a:pt x="24" y="55"/>
                  </a:cubicBezTo>
                  <a:close/>
                  <a:moveTo>
                    <a:pt x="28" y="16"/>
                  </a:moveTo>
                  <a:cubicBezTo>
                    <a:pt x="29" y="16"/>
                    <a:pt x="31" y="16"/>
                    <a:pt x="32" y="16"/>
                  </a:cubicBezTo>
                  <a:cubicBezTo>
                    <a:pt x="32" y="13"/>
                    <a:pt x="32" y="10"/>
                    <a:pt x="32" y="7"/>
                  </a:cubicBezTo>
                  <a:cubicBezTo>
                    <a:pt x="31" y="7"/>
                    <a:pt x="30" y="7"/>
                    <a:pt x="29" y="7"/>
                  </a:cubicBezTo>
                  <a:cubicBezTo>
                    <a:pt x="28" y="7"/>
                    <a:pt x="28" y="8"/>
                    <a:pt x="28" y="8"/>
                  </a:cubicBezTo>
                  <a:cubicBezTo>
                    <a:pt x="28" y="11"/>
                    <a:pt x="28" y="13"/>
                    <a:pt x="28" y="16"/>
                  </a:cubicBezTo>
                  <a:close/>
                </a:path>
              </a:pathLst>
            </a:custGeom>
            <a:solidFill>
              <a:srgbClr val="54A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7" name="Rectangle 1686">
              <a:extLst>
                <a:ext uri="{FF2B5EF4-FFF2-40B4-BE49-F238E27FC236}">
                  <a16:creationId xmlns:a16="http://schemas.microsoft.com/office/drawing/2014/main" id="{7F62DE91-919C-4143-AA2F-4EA096E296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7" y="1731"/>
              <a:ext cx="456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54A6DB"/>
                  </a:solidFill>
                  <a:effectLst/>
                  <a:latin typeface="Orsted Sans" panose="00000500000000000000" pitchFamily="50" charset="0"/>
                </a:rPr>
                <a:t>Ocean Wind 1 </a:t>
              </a:r>
              <a:r>
                <a:rPr kumimoji="0" lang="en-US" altLang="en-US" sz="500" b="1" i="0" u="none" strike="noStrike" cap="none" normalizeH="0" baseline="0">
                  <a:ln>
                    <a:noFill/>
                  </a:ln>
                  <a:solidFill>
                    <a:srgbClr val="54A6DB"/>
                  </a:solidFill>
                  <a:effectLst/>
                  <a:latin typeface="Orsted Sans" panose="00000500000000000000" pitchFamily="50" charset="0"/>
                </a:rPr>
                <a:t>1,100 MW</a:t>
              </a:r>
              <a:endPara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05" name="Rectangle 1694">
              <a:extLst>
                <a:ext uri="{FF2B5EF4-FFF2-40B4-BE49-F238E27FC236}">
                  <a16:creationId xmlns:a16="http://schemas.microsoft.com/office/drawing/2014/main" id="{72B9D52C-E3BB-4362-B722-4F10A4963B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7" y="1777"/>
              <a:ext cx="461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54A6DB"/>
                  </a:solidFill>
                  <a:effectLst/>
                  <a:latin typeface="Orsted Sans" panose="00000500000000000000" pitchFamily="50" charset="0"/>
                </a:rPr>
                <a:t>Ocean Wind 2 </a:t>
              </a:r>
              <a:r>
                <a:rPr kumimoji="0" lang="en-US" altLang="en-US" sz="500" b="1" i="0" u="none" strike="noStrike" cap="none" normalizeH="0" baseline="0">
                  <a:ln>
                    <a:noFill/>
                  </a:ln>
                  <a:solidFill>
                    <a:srgbClr val="54A6DB"/>
                  </a:solidFill>
                  <a:effectLst/>
                  <a:latin typeface="Orsted Sans" panose="00000500000000000000" pitchFamily="50" charset="0"/>
                </a:rPr>
                <a:t>1,148 MW</a:t>
              </a:r>
              <a:endPara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14" name="Rectangle 1703">
              <a:extLst>
                <a:ext uri="{FF2B5EF4-FFF2-40B4-BE49-F238E27FC236}">
                  <a16:creationId xmlns:a16="http://schemas.microsoft.com/office/drawing/2014/main" id="{E886A168-25C2-49C0-A3B5-DDED93D76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2" y="1081"/>
              <a:ext cx="302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8ECDC8"/>
                  </a:solidFill>
                  <a:effectLst/>
                  <a:latin typeface="Orsted Sans" panose="00000500000000000000" pitchFamily="50" charset="0"/>
                </a:rPr>
                <a:t>Bay State Win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20" name="Rectangle 1709">
              <a:extLst>
                <a:ext uri="{FF2B5EF4-FFF2-40B4-BE49-F238E27FC236}">
                  <a16:creationId xmlns:a16="http://schemas.microsoft.com/office/drawing/2014/main" id="{CFA65CD0-AAC2-4B07-8244-6BC7CDBE02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6" y="1089"/>
              <a:ext cx="496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54A6DB"/>
                  </a:solidFill>
                  <a:effectLst/>
                  <a:latin typeface="Orsted Sans" panose="00000500000000000000" pitchFamily="50" charset="0"/>
                </a:rPr>
                <a:t>Revolution Wind </a:t>
              </a:r>
              <a:r>
                <a:rPr kumimoji="0" lang="en-US" altLang="en-US" sz="500" b="1" i="0" u="none" strike="noStrike" cap="none" normalizeH="0" baseline="0">
                  <a:ln>
                    <a:noFill/>
                  </a:ln>
                  <a:solidFill>
                    <a:srgbClr val="54A6DB"/>
                  </a:solidFill>
                  <a:effectLst/>
                  <a:latin typeface="Orsted Sans" panose="00000500000000000000" pitchFamily="50" charset="0"/>
                </a:rPr>
                <a:t>704 MW</a:t>
              </a:r>
              <a:endPara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30" name="Rectangle 1719">
              <a:extLst>
                <a:ext uri="{FF2B5EF4-FFF2-40B4-BE49-F238E27FC236}">
                  <a16:creationId xmlns:a16="http://schemas.microsoft.com/office/drawing/2014/main" id="{09B7F48A-D056-45A5-9EBE-CBCB5B995A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6" y="1134"/>
              <a:ext cx="478" cy="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00" b="0" i="0" u="none" strike="noStrike" cap="none" normalizeH="0" baseline="0">
                  <a:ln>
                    <a:noFill/>
                  </a:ln>
                  <a:solidFill>
                    <a:srgbClr val="54A6DB"/>
                  </a:solidFill>
                  <a:effectLst/>
                  <a:latin typeface="Orsted Sans" panose="00000500000000000000" pitchFamily="50" charset="0"/>
                </a:rPr>
                <a:t>South Fork Wind </a:t>
              </a:r>
              <a:r>
                <a:rPr kumimoji="0" lang="en-US" altLang="en-US" sz="500" b="1" i="0" u="none" strike="noStrike" cap="none" normalizeH="0" baseline="0">
                  <a:ln>
                    <a:noFill/>
                  </a:ln>
                  <a:solidFill>
                    <a:srgbClr val="54A6DB"/>
                  </a:solidFill>
                  <a:effectLst/>
                  <a:latin typeface="Orsted Sans" panose="00000500000000000000" pitchFamily="50" charset="0"/>
                </a:rPr>
                <a:t>132 MW</a:t>
              </a:r>
              <a:endPara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44" name="Freeform 1733">
              <a:extLst>
                <a:ext uri="{FF2B5EF4-FFF2-40B4-BE49-F238E27FC236}">
                  <a16:creationId xmlns:a16="http://schemas.microsoft.com/office/drawing/2014/main" id="{1BFA0E47-D5C0-4ADD-95C9-D11EB708C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" y="1163"/>
              <a:ext cx="155" cy="127"/>
            </a:xfrm>
            <a:custGeom>
              <a:avLst/>
              <a:gdLst>
                <a:gd name="T0" fmla="*/ 51 w 99"/>
                <a:gd name="T1" fmla="*/ 0 h 81"/>
                <a:gd name="T2" fmla="*/ 67 w 99"/>
                <a:gd name="T3" fmla="*/ 19 h 81"/>
                <a:gd name="T4" fmla="*/ 75 w 99"/>
                <a:gd name="T5" fmla="*/ 35 h 81"/>
                <a:gd name="T6" fmla="*/ 99 w 99"/>
                <a:gd name="T7" fmla="*/ 51 h 81"/>
                <a:gd name="T8" fmla="*/ 99 w 99"/>
                <a:gd name="T9" fmla="*/ 75 h 81"/>
                <a:gd name="T10" fmla="*/ 83 w 99"/>
                <a:gd name="T11" fmla="*/ 75 h 81"/>
                <a:gd name="T12" fmla="*/ 66 w 99"/>
                <a:gd name="T13" fmla="*/ 75 h 81"/>
                <a:gd name="T14" fmla="*/ 59 w 99"/>
                <a:gd name="T15" fmla="*/ 76 h 81"/>
                <a:gd name="T16" fmla="*/ 57 w 99"/>
                <a:gd name="T17" fmla="*/ 79 h 81"/>
                <a:gd name="T18" fmla="*/ 26 w 99"/>
                <a:gd name="T19" fmla="*/ 81 h 81"/>
                <a:gd name="T20" fmla="*/ 10 w 99"/>
                <a:gd name="T21" fmla="*/ 75 h 81"/>
                <a:gd name="T22" fmla="*/ 2 w 99"/>
                <a:gd name="T23" fmla="*/ 67 h 81"/>
                <a:gd name="T24" fmla="*/ 0 w 99"/>
                <a:gd name="T25" fmla="*/ 51 h 81"/>
                <a:gd name="T26" fmla="*/ 2 w 99"/>
                <a:gd name="T27" fmla="*/ 47 h 81"/>
                <a:gd name="T28" fmla="*/ 4 w 99"/>
                <a:gd name="T29" fmla="*/ 47 h 81"/>
                <a:gd name="T30" fmla="*/ 6 w 99"/>
                <a:gd name="T31" fmla="*/ 45 h 81"/>
                <a:gd name="T32" fmla="*/ 8 w 99"/>
                <a:gd name="T33" fmla="*/ 43 h 81"/>
                <a:gd name="T34" fmla="*/ 10 w 99"/>
                <a:gd name="T35" fmla="*/ 41 h 81"/>
                <a:gd name="T36" fmla="*/ 12 w 99"/>
                <a:gd name="T37" fmla="*/ 39 h 81"/>
                <a:gd name="T38" fmla="*/ 14 w 99"/>
                <a:gd name="T39" fmla="*/ 37 h 81"/>
                <a:gd name="T40" fmla="*/ 16 w 99"/>
                <a:gd name="T41" fmla="*/ 35 h 81"/>
                <a:gd name="T42" fmla="*/ 18 w 99"/>
                <a:gd name="T43" fmla="*/ 31 h 81"/>
                <a:gd name="T44" fmla="*/ 20 w 99"/>
                <a:gd name="T45" fmla="*/ 29 h 81"/>
                <a:gd name="T46" fmla="*/ 22 w 99"/>
                <a:gd name="T47" fmla="*/ 27 h 81"/>
                <a:gd name="T48" fmla="*/ 24 w 99"/>
                <a:gd name="T49" fmla="*/ 25 h 81"/>
                <a:gd name="T50" fmla="*/ 27 w 99"/>
                <a:gd name="T51" fmla="*/ 22 h 81"/>
                <a:gd name="T52" fmla="*/ 29 w 99"/>
                <a:gd name="T53" fmla="*/ 21 h 81"/>
                <a:gd name="T54" fmla="*/ 31 w 99"/>
                <a:gd name="T55" fmla="*/ 19 h 81"/>
                <a:gd name="T56" fmla="*/ 33 w 99"/>
                <a:gd name="T57" fmla="*/ 17 h 81"/>
                <a:gd name="T58" fmla="*/ 35 w 99"/>
                <a:gd name="T59" fmla="*/ 14 h 81"/>
                <a:gd name="T60" fmla="*/ 37 w 99"/>
                <a:gd name="T61" fmla="*/ 12 h 81"/>
                <a:gd name="T62" fmla="*/ 41 w 99"/>
                <a:gd name="T63" fmla="*/ 10 h 81"/>
                <a:gd name="T64" fmla="*/ 43 w 99"/>
                <a:gd name="T65" fmla="*/ 8 h 81"/>
                <a:gd name="T66" fmla="*/ 45 w 99"/>
                <a:gd name="T67" fmla="*/ 4 h 81"/>
                <a:gd name="T68" fmla="*/ 47 w 99"/>
                <a:gd name="T69" fmla="*/ 2 h 81"/>
                <a:gd name="T70" fmla="*/ 49 w 99"/>
                <a:gd name="T7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81">
                  <a:moveTo>
                    <a:pt x="49" y="0"/>
                  </a:moveTo>
                  <a:cubicBezTo>
                    <a:pt x="50" y="0"/>
                    <a:pt x="50" y="0"/>
                    <a:pt x="51" y="0"/>
                  </a:cubicBezTo>
                  <a:cubicBezTo>
                    <a:pt x="51" y="6"/>
                    <a:pt x="51" y="12"/>
                    <a:pt x="51" y="19"/>
                  </a:cubicBezTo>
                  <a:cubicBezTo>
                    <a:pt x="56" y="19"/>
                    <a:pt x="62" y="19"/>
                    <a:pt x="67" y="19"/>
                  </a:cubicBezTo>
                  <a:cubicBezTo>
                    <a:pt x="67" y="24"/>
                    <a:pt x="67" y="29"/>
                    <a:pt x="67" y="35"/>
                  </a:cubicBezTo>
                  <a:cubicBezTo>
                    <a:pt x="70" y="35"/>
                    <a:pt x="72" y="35"/>
                    <a:pt x="75" y="35"/>
                  </a:cubicBezTo>
                  <a:cubicBezTo>
                    <a:pt x="75" y="40"/>
                    <a:pt x="75" y="45"/>
                    <a:pt x="75" y="51"/>
                  </a:cubicBezTo>
                  <a:cubicBezTo>
                    <a:pt x="83" y="51"/>
                    <a:pt x="91" y="51"/>
                    <a:pt x="99" y="51"/>
                  </a:cubicBezTo>
                  <a:cubicBezTo>
                    <a:pt x="99" y="59"/>
                    <a:pt x="99" y="67"/>
                    <a:pt x="99" y="75"/>
                  </a:cubicBezTo>
                  <a:cubicBezTo>
                    <a:pt x="99" y="75"/>
                    <a:pt x="99" y="75"/>
                    <a:pt x="99" y="75"/>
                  </a:cubicBezTo>
                  <a:cubicBezTo>
                    <a:pt x="96" y="75"/>
                    <a:pt x="93" y="75"/>
                    <a:pt x="90" y="75"/>
                  </a:cubicBezTo>
                  <a:cubicBezTo>
                    <a:pt x="88" y="75"/>
                    <a:pt x="86" y="75"/>
                    <a:pt x="83" y="75"/>
                  </a:cubicBezTo>
                  <a:cubicBezTo>
                    <a:pt x="80" y="75"/>
                    <a:pt x="76" y="75"/>
                    <a:pt x="73" y="75"/>
                  </a:cubicBezTo>
                  <a:cubicBezTo>
                    <a:pt x="71" y="75"/>
                    <a:pt x="68" y="75"/>
                    <a:pt x="66" y="75"/>
                  </a:cubicBezTo>
                  <a:cubicBezTo>
                    <a:pt x="64" y="75"/>
                    <a:pt x="62" y="75"/>
                    <a:pt x="60" y="75"/>
                  </a:cubicBezTo>
                  <a:cubicBezTo>
                    <a:pt x="59" y="75"/>
                    <a:pt x="59" y="75"/>
                    <a:pt x="59" y="76"/>
                  </a:cubicBezTo>
                  <a:cubicBezTo>
                    <a:pt x="59" y="77"/>
                    <a:pt x="59" y="78"/>
                    <a:pt x="59" y="79"/>
                  </a:cubicBezTo>
                  <a:cubicBezTo>
                    <a:pt x="58" y="79"/>
                    <a:pt x="58" y="79"/>
                    <a:pt x="57" y="79"/>
                  </a:cubicBezTo>
                  <a:cubicBezTo>
                    <a:pt x="57" y="80"/>
                    <a:pt x="57" y="81"/>
                    <a:pt x="57" y="81"/>
                  </a:cubicBezTo>
                  <a:cubicBezTo>
                    <a:pt x="47" y="81"/>
                    <a:pt x="37" y="81"/>
                    <a:pt x="26" y="81"/>
                  </a:cubicBezTo>
                  <a:cubicBezTo>
                    <a:pt x="26" y="79"/>
                    <a:pt x="26" y="77"/>
                    <a:pt x="26" y="75"/>
                  </a:cubicBezTo>
                  <a:cubicBezTo>
                    <a:pt x="21" y="75"/>
                    <a:pt x="16" y="75"/>
                    <a:pt x="10" y="75"/>
                  </a:cubicBezTo>
                  <a:cubicBezTo>
                    <a:pt x="10" y="72"/>
                    <a:pt x="10" y="70"/>
                    <a:pt x="10" y="67"/>
                  </a:cubicBezTo>
                  <a:cubicBezTo>
                    <a:pt x="8" y="67"/>
                    <a:pt x="5" y="67"/>
                    <a:pt x="2" y="67"/>
                  </a:cubicBezTo>
                  <a:cubicBezTo>
                    <a:pt x="2" y="61"/>
                    <a:pt x="2" y="56"/>
                    <a:pt x="2" y="51"/>
                  </a:cubicBezTo>
                  <a:cubicBezTo>
                    <a:pt x="1" y="51"/>
                    <a:pt x="1" y="51"/>
                    <a:pt x="0" y="51"/>
                  </a:cubicBezTo>
                  <a:cubicBezTo>
                    <a:pt x="0" y="50"/>
                    <a:pt x="0" y="50"/>
                    <a:pt x="0" y="49"/>
                  </a:cubicBezTo>
                  <a:cubicBezTo>
                    <a:pt x="2" y="49"/>
                    <a:pt x="2" y="49"/>
                    <a:pt x="2" y="47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3" y="47"/>
                    <a:pt x="3" y="47"/>
                    <a:pt x="4" y="47"/>
                  </a:cubicBezTo>
                  <a:cubicBezTo>
                    <a:pt x="4" y="46"/>
                    <a:pt x="4" y="45"/>
                    <a:pt x="4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4"/>
                    <a:pt x="6" y="44"/>
                    <a:pt x="6" y="43"/>
                  </a:cubicBezTo>
                  <a:cubicBezTo>
                    <a:pt x="7" y="43"/>
                    <a:pt x="8" y="43"/>
                    <a:pt x="8" y="43"/>
                  </a:cubicBezTo>
                  <a:cubicBezTo>
                    <a:pt x="8" y="42"/>
                    <a:pt x="8" y="42"/>
                    <a:pt x="8" y="41"/>
                  </a:cubicBezTo>
                  <a:cubicBezTo>
                    <a:pt x="9" y="41"/>
                    <a:pt x="10" y="41"/>
                    <a:pt x="10" y="41"/>
                  </a:cubicBezTo>
                  <a:cubicBezTo>
                    <a:pt x="10" y="40"/>
                    <a:pt x="10" y="39"/>
                    <a:pt x="10" y="39"/>
                  </a:cubicBezTo>
                  <a:cubicBezTo>
                    <a:pt x="11" y="39"/>
                    <a:pt x="12" y="39"/>
                    <a:pt x="12" y="39"/>
                  </a:cubicBezTo>
                  <a:cubicBezTo>
                    <a:pt x="12" y="38"/>
                    <a:pt x="12" y="37"/>
                    <a:pt x="12" y="37"/>
                  </a:cubicBezTo>
                  <a:cubicBezTo>
                    <a:pt x="13" y="37"/>
                    <a:pt x="14" y="37"/>
                    <a:pt x="14" y="37"/>
                  </a:cubicBezTo>
                  <a:cubicBezTo>
                    <a:pt x="14" y="36"/>
                    <a:pt x="14" y="35"/>
                    <a:pt x="14" y="35"/>
                  </a:cubicBezTo>
                  <a:cubicBezTo>
                    <a:pt x="15" y="35"/>
                    <a:pt x="16" y="35"/>
                    <a:pt x="16" y="35"/>
                  </a:cubicBezTo>
                  <a:cubicBezTo>
                    <a:pt x="16" y="33"/>
                    <a:pt x="17" y="32"/>
                    <a:pt x="18" y="33"/>
                  </a:cubicBezTo>
                  <a:cubicBezTo>
                    <a:pt x="18" y="32"/>
                    <a:pt x="18" y="31"/>
                    <a:pt x="18" y="31"/>
                  </a:cubicBezTo>
                  <a:cubicBezTo>
                    <a:pt x="19" y="31"/>
                    <a:pt x="20" y="31"/>
                    <a:pt x="20" y="31"/>
                  </a:cubicBezTo>
                  <a:cubicBezTo>
                    <a:pt x="20" y="30"/>
                    <a:pt x="20" y="29"/>
                    <a:pt x="20" y="29"/>
                  </a:cubicBezTo>
                  <a:cubicBezTo>
                    <a:pt x="21" y="29"/>
                    <a:pt x="22" y="29"/>
                    <a:pt x="22" y="29"/>
                  </a:cubicBezTo>
                  <a:cubicBezTo>
                    <a:pt x="22" y="28"/>
                    <a:pt x="22" y="28"/>
                    <a:pt x="22" y="27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4" y="27"/>
                    <a:pt x="25" y="26"/>
                    <a:pt x="24" y="25"/>
                  </a:cubicBezTo>
                  <a:cubicBezTo>
                    <a:pt x="24" y="25"/>
                    <a:pt x="24" y="25"/>
                    <a:pt x="25" y="25"/>
                  </a:cubicBezTo>
                  <a:cubicBezTo>
                    <a:pt x="26" y="25"/>
                    <a:pt x="27" y="24"/>
                    <a:pt x="27" y="22"/>
                  </a:cubicBezTo>
                  <a:cubicBezTo>
                    <a:pt x="27" y="22"/>
                    <a:pt x="28" y="22"/>
                    <a:pt x="29" y="22"/>
                  </a:cubicBezTo>
                  <a:cubicBezTo>
                    <a:pt x="29" y="22"/>
                    <a:pt x="29" y="21"/>
                    <a:pt x="29" y="21"/>
                  </a:cubicBezTo>
                  <a:cubicBezTo>
                    <a:pt x="29" y="20"/>
                    <a:pt x="30" y="20"/>
                    <a:pt x="31" y="20"/>
                  </a:cubicBezTo>
                  <a:cubicBezTo>
                    <a:pt x="31" y="20"/>
                    <a:pt x="31" y="19"/>
                    <a:pt x="31" y="19"/>
                  </a:cubicBezTo>
                  <a:cubicBezTo>
                    <a:pt x="31" y="19"/>
                    <a:pt x="32" y="19"/>
                    <a:pt x="33" y="18"/>
                  </a:cubicBezTo>
                  <a:cubicBezTo>
                    <a:pt x="33" y="18"/>
                    <a:pt x="33" y="17"/>
                    <a:pt x="33" y="17"/>
                  </a:cubicBezTo>
                  <a:cubicBezTo>
                    <a:pt x="33" y="17"/>
                    <a:pt x="34" y="16"/>
                    <a:pt x="34" y="16"/>
                  </a:cubicBezTo>
                  <a:cubicBezTo>
                    <a:pt x="34" y="16"/>
                    <a:pt x="35" y="15"/>
                    <a:pt x="35" y="14"/>
                  </a:cubicBezTo>
                  <a:cubicBezTo>
                    <a:pt x="35" y="14"/>
                    <a:pt x="36" y="14"/>
                    <a:pt x="37" y="14"/>
                  </a:cubicBezTo>
                  <a:cubicBezTo>
                    <a:pt x="37" y="14"/>
                    <a:pt x="37" y="13"/>
                    <a:pt x="37" y="12"/>
                  </a:cubicBezTo>
                  <a:cubicBezTo>
                    <a:pt x="38" y="12"/>
                    <a:pt x="38" y="12"/>
                    <a:pt x="39" y="10"/>
                  </a:cubicBezTo>
                  <a:cubicBezTo>
                    <a:pt x="39" y="10"/>
                    <a:pt x="40" y="10"/>
                    <a:pt x="41" y="10"/>
                  </a:cubicBezTo>
                  <a:cubicBezTo>
                    <a:pt x="41" y="10"/>
                    <a:pt x="41" y="9"/>
                    <a:pt x="41" y="8"/>
                  </a:cubicBezTo>
                  <a:cubicBezTo>
                    <a:pt x="41" y="8"/>
                    <a:pt x="42" y="8"/>
                    <a:pt x="43" y="8"/>
                  </a:cubicBezTo>
                  <a:cubicBezTo>
                    <a:pt x="42" y="6"/>
                    <a:pt x="43" y="6"/>
                    <a:pt x="45" y="6"/>
                  </a:cubicBezTo>
                  <a:cubicBezTo>
                    <a:pt x="45" y="5"/>
                    <a:pt x="45" y="5"/>
                    <a:pt x="45" y="4"/>
                  </a:cubicBezTo>
                  <a:cubicBezTo>
                    <a:pt x="45" y="4"/>
                    <a:pt x="46" y="4"/>
                    <a:pt x="47" y="4"/>
                  </a:cubicBezTo>
                  <a:cubicBezTo>
                    <a:pt x="47" y="3"/>
                    <a:pt x="47" y="3"/>
                    <a:pt x="47" y="2"/>
                  </a:cubicBezTo>
                  <a:cubicBezTo>
                    <a:pt x="47" y="2"/>
                    <a:pt x="48" y="2"/>
                    <a:pt x="48" y="2"/>
                  </a:cubicBezTo>
                  <a:cubicBezTo>
                    <a:pt x="49" y="1"/>
                    <a:pt x="49" y="1"/>
                    <a:pt x="49" y="0"/>
                  </a:cubicBezTo>
                  <a:close/>
                </a:path>
              </a:pathLst>
            </a:custGeom>
            <a:solidFill>
              <a:srgbClr val="9FAD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5" name="Freeform 1734">
              <a:extLst>
                <a:ext uri="{FF2B5EF4-FFF2-40B4-BE49-F238E27FC236}">
                  <a16:creationId xmlns:a16="http://schemas.microsoft.com/office/drawing/2014/main" id="{F4DD70E4-E128-4421-985A-1FDA1D872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2" y="1193"/>
              <a:ext cx="77" cy="77"/>
            </a:xfrm>
            <a:custGeom>
              <a:avLst/>
              <a:gdLst>
                <a:gd name="T0" fmla="*/ 77 w 77"/>
                <a:gd name="T1" fmla="*/ 0 h 77"/>
                <a:gd name="T2" fmla="*/ 77 w 77"/>
                <a:gd name="T3" fmla="*/ 3 h 77"/>
                <a:gd name="T4" fmla="*/ 73 w 77"/>
                <a:gd name="T5" fmla="*/ 3 h 77"/>
                <a:gd name="T6" fmla="*/ 73 w 77"/>
                <a:gd name="T7" fmla="*/ 8 h 77"/>
                <a:gd name="T8" fmla="*/ 69 w 77"/>
                <a:gd name="T9" fmla="*/ 8 h 77"/>
                <a:gd name="T10" fmla="*/ 69 w 77"/>
                <a:gd name="T11" fmla="*/ 12 h 77"/>
                <a:gd name="T12" fmla="*/ 65 w 77"/>
                <a:gd name="T13" fmla="*/ 12 h 77"/>
                <a:gd name="T14" fmla="*/ 65 w 77"/>
                <a:gd name="T15" fmla="*/ 17 h 77"/>
                <a:gd name="T16" fmla="*/ 60 w 77"/>
                <a:gd name="T17" fmla="*/ 17 h 77"/>
                <a:gd name="T18" fmla="*/ 60 w 77"/>
                <a:gd name="T19" fmla="*/ 20 h 77"/>
                <a:gd name="T20" fmla="*/ 57 w 77"/>
                <a:gd name="T21" fmla="*/ 20 h 77"/>
                <a:gd name="T22" fmla="*/ 57 w 77"/>
                <a:gd name="T23" fmla="*/ 25 h 77"/>
                <a:gd name="T24" fmla="*/ 54 w 77"/>
                <a:gd name="T25" fmla="*/ 25 h 77"/>
                <a:gd name="T26" fmla="*/ 54 w 77"/>
                <a:gd name="T27" fmla="*/ 28 h 77"/>
                <a:gd name="T28" fmla="*/ 49 w 77"/>
                <a:gd name="T29" fmla="*/ 28 h 77"/>
                <a:gd name="T30" fmla="*/ 49 w 77"/>
                <a:gd name="T31" fmla="*/ 31 h 77"/>
                <a:gd name="T32" fmla="*/ 46 w 77"/>
                <a:gd name="T33" fmla="*/ 31 h 77"/>
                <a:gd name="T34" fmla="*/ 46 w 77"/>
                <a:gd name="T35" fmla="*/ 36 h 77"/>
                <a:gd name="T36" fmla="*/ 41 w 77"/>
                <a:gd name="T37" fmla="*/ 36 h 77"/>
                <a:gd name="T38" fmla="*/ 41 w 77"/>
                <a:gd name="T39" fmla="*/ 39 h 77"/>
                <a:gd name="T40" fmla="*/ 38 w 77"/>
                <a:gd name="T41" fmla="*/ 39 h 77"/>
                <a:gd name="T42" fmla="*/ 38 w 77"/>
                <a:gd name="T43" fmla="*/ 44 h 77"/>
                <a:gd name="T44" fmla="*/ 35 w 77"/>
                <a:gd name="T45" fmla="*/ 44 h 77"/>
                <a:gd name="T46" fmla="*/ 35 w 77"/>
                <a:gd name="T47" fmla="*/ 47 h 77"/>
                <a:gd name="T48" fmla="*/ 30 w 77"/>
                <a:gd name="T49" fmla="*/ 47 h 77"/>
                <a:gd name="T50" fmla="*/ 30 w 77"/>
                <a:gd name="T51" fmla="*/ 52 h 77"/>
                <a:gd name="T52" fmla="*/ 27 w 77"/>
                <a:gd name="T53" fmla="*/ 52 h 77"/>
                <a:gd name="T54" fmla="*/ 27 w 77"/>
                <a:gd name="T55" fmla="*/ 55 h 77"/>
                <a:gd name="T56" fmla="*/ 24 w 77"/>
                <a:gd name="T57" fmla="*/ 55 h 77"/>
                <a:gd name="T58" fmla="*/ 24 w 77"/>
                <a:gd name="T59" fmla="*/ 60 h 77"/>
                <a:gd name="T60" fmla="*/ 19 w 77"/>
                <a:gd name="T61" fmla="*/ 60 h 77"/>
                <a:gd name="T62" fmla="*/ 19 w 77"/>
                <a:gd name="T63" fmla="*/ 63 h 77"/>
                <a:gd name="T64" fmla="*/ 15 w 77"/>
                <a:gd name="T65" fmla="*/ 63 h 77"/>
                <a:gd name="T66" fmla="*/ 15 w 77"/>
                <a:gd name="T67" fmla="*/ 67 h 77"/>
                <a:gd name="T68" fmla="*/ 11 w 77"/>
                <a:gd name="T69" fmla="*/ 67 h 77"/>
                <a:gd name="T70" fmla="*/ 11 w 77"/>
                <a:gd name="T71" fmla="*/ 70 h 77"/>
                <a:gd name="T72" fmla="*/ 7 w 77"/>
                <a:gd name="T73" fmla="*/ 70 h 77"/>
                <a:gd name="T74" fmla="*/ 7 w 77"/>
                <a:gd name="T75" fmla="*/ 75 h 77"/>
                <a:gd name="T76" fmla="*/ 4 w 77"/>
                <a:gd name="T77" fmla="*/ 75 h 77"/>
                <a:gd name="T78" fmla="*/ 4 w 77"/>
                <a:gd name="T79" fmla="*/ 77 h 77"/>
                <a:gd name="T80" fmla="*/ 0 w 77"/>
                <a:gd name="T8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7" h="77">
                  <a:moveTo>
                    <a:pt x="77" y="0"/>
                  </a:moveTo>
                  <a:lnTo>
                    <a:pt x="77" y="3"/>
                  </a:lnTo>
                  <a:lnTo>
                    <a:pt x="73" y="3"/>
                  </a:lnTo>
                  <a:lnTo>
                    <a:pt x="73" y="8"/>
                  </a:lnTo>
                  <a:lnTo>
                    <a:pt x="69" y="8"/>
                  </a:lnTo>
                  <a:lnTo>
                    <a:pt x="69" y="12"/>
                  </a:lnTo>
                  <a:lnTo>
                    <a:pt x="65" y="12"/>
                  </a:lnTo>
                  <a:lnTo>
                    <a:pt x="65" y="17"/>
                  </a:lnTo>
                  <a:lnTo>
                    <a:pt x="60" y="17"/>
                  </a:lnTo>
                  <a:lnTo>
                    <a:pt x="60" y="20"/>
                  </a:lnTo>
                  <a:lnTo>
                    <a:pt x="57" y="20"/>
                  </a:lnTo>
                  <a:lnTo>
                    <a:pt x="57" y="25"/>
                  </a:lnTo>
                  <a:lnTo>
                    <a:pt x="54" y="25"/>
                  </a:lnTo>
                  <a:lnTo>
                    <a:pt x="54" y="28"/>
                  </a:lnTo>
                  <a:lnTo>
                    <a:pt x="49" y="28"/>
                  </a:lnTo>
                  <a:lnTo>
                    <a:pt x="49" y="31"/>
                  </a:lnTo>
                  <a:lnTo>
                    <a:pt x="46" y="31"/>
                  </a:lnTo>
                  <a:lnTo>
                    <a:pt x="46" y="36"/>
                  </a:lnTo>
                  <a:lnTo>
                    <a:pt x="41" y="36"/>
                  </a:lnTo>
                  <a:lnTo>
                    <a:pt x="41" y="39"/>
                  </a:lnTo>
                  <a:lnTo>
                    <a:pt x="38" y="39"/>
                  </a:lnTo>
                  <a:lnTo>
                    <a:pt x="38" y="44"/>
                  </a:lnTo>
                  <a:lnTo>
                    <a:pt x="35" y="44"/>
                  </a:lnTo>
                  <a:lnTo>
                    <a:pt x="35" y="47"/>
                  </a:lnTo>
                  <a:lnTo>
                    <a:pt x="30" y="47"/>
                  </a:lnTo>
                  <a:lnTo>
                    <a:pt x="30" y="52"/>
                  </a:lnTo>
                  <a:lnTo>
                    <a:pt x="27" y="52"/>
                  </a:lnTo>
                  <a:lnTo>
                    <a:pt x="27" y="55"/>
                  </a:lnTo>
                  <a:lnTo>
                    <a:pt x="24" y="55"/>
                  </a:lnTo>
                  <a:lnTo>
                    <a:pt x="24" y="60"/>
                  </a:lnTo>
                  <a:lnTo>
                    <a:pt x="19" y="60"/>
                  </a:lnTo>
                  <a:lnTo>
                    <a:pt x="19" y="63"/>
                  </a:lnTo>
                  <a:lnTo>
                    <a:pt x="15" y="63"/>
                  </a:lnTo>
                  <a:lnTo>
                    <a:pt x="15" y="67"/>
                  </a:lnTo>
                  <a:lnTo>
                    <a:pt x="11" y="67"/>
                  </a:lnTo>
                  <a:lnTo>
                    <a:pt x="11" y="70"/>
                  </a:lnTo>
                  <a:lnTo>
                    <a:pt x="7" y="70"/>
                  </a:lnTo>
                  <a:lnTo>
                    <a:pt x="7" y="75"/>
                  </a:lnTo>
                  <a:lnTo>
                    <a:pt x="4" y="75"/>
                  </a:lnTo>
                  <a:lnTo>
                    <a:pt x="4" y="77"/>
                  </a:lnTo>
                  <a:lnTo>
                    <a:pt x="0" y="77"/>
                  </a:lnTo>
                </a:path>
              </a:pathLst>
            </a:custGeom>
            <a:noFill/>
            <a:ln w="3175" cap="flat">
              <a:solidFill>
                <a:srgbClr val="F2F0E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6" name="Freeform 1735">
              <a:extLst>
                <a:ext uri="{FF2B5EF4-FFF2-40B4-BE49-F238E27FC236}">
                  <a16:creationId xmlns:a16="http://schemas.microsoft.com/office/drawing/2014/main" id="{9FD5950F-9826-4ABC-B512-174597070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8" y="1218"/>
              <a:ext cx="76" cy="77"/>
            </a:xfrm>
            <a:custGeom>
              <a:avLst/>
              <a:gdLst>
                <a:gd name="T0" fmla="*/ 76 w 76"/>
                <a:gd name="T1" fmla="*/ 0 h 77"/>
                <a:gd name="T2" fmla="*/ 76 w 76"/>
                <a:gd name="T3" fmla="*/ 3 h 77"/>
                <a:gd name="T4" fmla="*/ 72 w 76"/>
                <a:gd name="T5" fmla="*/ 3 h 77"/>
                <a:gd name="T6" fmla="*/ 72 w 76"/>
                <a:gd name="T7" fmla="*/ 8 h 77"/>
                <a:gd name="T8" fmla="*/ 67 w 76"/>
                <a:gd name="T9" fmla="*/ 8 h 77"/>
                <a:gd name="T10" fmla="*/ 67 w 76"/>
                <a:gd name="T11" fmla="*/ 13 h 77"/>
                <a:gd name="T12" fmla="*/ 64 w 76"/>
                <a:gd name="T13" fmla="*/ 13 h 77"/>
                <a:gd name="T14" fmla="*/ 64 w 76"/>
                <a:gd name="T15" fmla="*/ 17 h 77"/>
                <a:gd name="T16" fmla="*/ 59 w 76"/>
                <a:gd name="T17" fmla="*/ 17 h 77"/>
                <a:gd name="T18" fmla="*/ 59 w 76"/>
                <a:gd name="T19" fmla="*/ 20 h 77"/>
                <a:gd name="T20" fmla="*/ 56 w 76"/>
                <a:gd name="T21" fmla="*/ 20 h 77"/>
                <a:gd name="T22" fmla="*/ 56 w 76"/>
                <a:gd name="T23" fmla="*/ 25 h 77"/>
                <a:gd name="T24" fmla="*/ 51 w 76"/>
                <a:gd name="T25" fmla="*/ 25 h 77"/>
                <a:gd name="T26" fmla="*/ 51 w 76"/>
                <a:gd name="T27" fmla="*/ 28 h 77"/>
                <a:gd name="T28" fmla="*/ 48 w 76"/>
                <a:gd name="T29" fmla="*/ 28 h 77"/>
                <a:gd name="T30" fmla="*/ 48 w 76"/>
                <a:gd name="T31" fmla="*/ 33 h 77"/>
                <a:gd name="T32" fmla="*/ 45 w 76"/>
                <a:gd name="T33" fmla="*/ 33 h 77"/>
                <a:gd name="T34" fmla="*/ 45 w 76"/>
                <a:gd name="T35" fmla="*/ 36 h 77"/>
                <a:gd name="T36" fmla="*/ 40 w 76"/>
                <a:gd name="T37" fmla="*/ 36 h 77"/>
                <a:gd name="T38" fmla="*/ 40 w 76"/>
                <a:gd name="T39" fmla="*/ 39 h 77"/>
                <a:gd name="T40" fmla="*/ 37 w 76"/>
                <a:gd name="T41" fmla="*/ 39 h 77"/>
                <a:gd name="T42" fmla="*/ 37 w 76"/>
                <a:gd name="T43" fmla="*/ 44 h 77"/>
                <a:gd name="T44" fmla="*/ 32 w 76"/>
                <a:gd name="T45" fmla="*/ 44 h 77"/>
                <a:gd name="T46" fmla="*/ 32 w 76"/>
                <a:gd name="T47" fmla="*/ 47 h 77"/>
                <a:gd name="T48" fmla="*/ 29 w 76"/>
                <a:gd name="T49" fmla="*/ 47 h 77"/>
                <a:gd name="T50" fmla="*/ 29 w 76"/>
                <a:gd name="T51" fmla="*/ 52 h 77"/>
                <a:gd name="T52" fmla="*/ 26 w 76"/>
                <a:gd name="T53" fmla="*/ 52 h 77"/>
                <a:gd name="T54" fmla="*/ 26 w 76"/>
                <a:gd name="T55" fmla="*/ 55 h 77"/>
                <a:gd name="T56" fmla="*/ 22 w 76"/>
                <a:gd name="T57" fmla="*/ 55 h 77"/>
                <a:gd name="T58" fmla="*/ 22 w 76"/>
                <a:gd name="T59" fmla="*/ 60 h 77"/>
                <a:gd name="T60" fmla="*/ 18 w 76"/>
                <a:gd name="T61" fmla="*/ 60 h 77"/>
                <a:gd name="T62" fmla="*/ 18 w 76"/>
                <a:gd name="T63" fmla="*/ 64 h 77"/>
                <a:gd name="T64" fmla="*/ 14 w 76"/>
                <a:gd name="T65" fmla="*/ 64 h 77"/>
                <a:gd name="T66" fmla="*/ 14 w 76"/>
                <a:gd name="T67" fmla="*/ 67 h 77"/>
                <a:gd name="T68" fmla="*/ 11 w 76"/>
                <a:gd name="T69" fmla="*/ 67 h 77"/>
                <a:gd name="T70" fmla="*/ 11 w 76"/>
                <a:gd name="T71" fmla="*/ 71 h 77"/>
                <a:gd name="T72" fmla="*/ 6 w 76"/>
                <a:gd name="T73" fmla="*/ 71 h 77"/>
                <a:gd name="T74" fmla="*/ 6 w 76"/>
                <a:gd name="T75" fmla="*/ 75 h 77"/>
                <a:gd name="T76" fmla="*/ 3 w 76"/>
                <a:gd name="T77" fmla="*/ 75 h 77"/>
                <a:gd name="T78" fmla="*/ 3 w 76"/>
                <a:gd name="T79" fmla="*/ 77 h 77"/>
                <a:gd name="T80" fmla="*/ 0 w 76"/>
                <a:gd name="T8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6" h="77">
                  <a:moveTo>
                    <a:pt x="76" y="0"/>
                  </a:moveTo>
                  <a:lnTo>
                    <a:pt x="76" y="3"/>
                  </a:lnTo>
                  <a:lnTo>
                    <a:pt x="72" y="3"/>
                  </a:lnTo>
                  <a:lnTo>
                    <a:pt x="72" y="8"/>
                  </a:lnTo>
                  <a:lnTo>
                    <a:pt x="67" y="8"/>
                  </a:lnTo>
                  <a:lnTo>
                    <a:pt x="67" y="13"/>
                  </a:lnTo>
                  <a:lnTo>
                    <a:pt x="64" y="13"/>
                  </a:lnTo>
                  <a:lnTo>
                    <a:pt x="64" y="17"/>
                  </a:lnTo>
                  <a:lnTo>
                    <a:pt x="59" y="17"/>
                  </a:lnTo>
                  <a:lnTo>
                    <a:pt x="59" y="20"/>
                  </a:lnTo>
                  <a:lnTo>
                    <a:pt x="56" y="20"/>
                  </a:lnTo>
                  <a:lnTo>
                    <a:pt x="56" y="25"/>
                  </a:lnTo>
                  <a:lnTo>
                    <a:pt x="51" y="25"/>
                  </a:lnTo>
                  <a:lnTo>
                    <a:pt x="51" y="28"/>
                  </a:lnTo>
                  <a:lnTo>
                    <a:pt x="48" y="28"/>
                  </a:lnTo>
                  <a:lnTo>
                    <a:pt x="48" y="33"/>
                  </a:lnTo>
                  <a:lnTo>
                    <a:pt x="45" y="33"/>
                  </a:lnTo>
                  <a:lnTo>
                    <a:pt x="45" y="36"/>
                  </a:lnTo>
                  <a:lnTo>
                    <a:pt x="40" y="36"/>
                  </a:lnTo>
                  <a:lnTo>
                    <a:pt x="40" y="39"/>
                  </a:lnTo>
                  <a:lnTo>
                    <a:pt x="37" y="39"/>
                  </a:lnTo>
                  <a:lnTo>
                    <a:pt x="37" y="44"/>
                  </a:lnTo>
                  <a:lnTo>
                    <a:pt x="32" y="44"/>
                  </a:lnTo>
                  <a:lnTo>
                    <a:pt x="32" y="47"/>
                  </a:lnTo>
                  <a:lnTo>
                    <a:pt x="29" y="47"/>
                  </a:lnTo>
                  <a:lnTo>
                    <a:pt x="29" y="52"/>
                  </a:lnTo>
                  <a:lnTo>
                    <a:pt x="26" y="52"/>
                  </a:lnTo>
                  <a:lnTo>
                    <a:pt x="26" y="55"/>
                  </a:lnTo>
                  <a:lnTo>
                    <a:pt x="22" y="55"/>
                  </a:lnTo>
                  <a:lnTo>
                    <a:pt x="22" y="60"/>
                  </a:lnTo>
                  <a:lnTo>
                    <a:pt x="18" y="60"/>
                  </a:lnTo>
                  <a:lnTo>
                    <a:pt x="18" y="64"/>
                  </a:lnTo>
                  <a:lnTo>
                    <a:pt x="14" y="64"/>
                  </a:lnTo>
                  <a:lnTo>
                    <a:pt x="14" y="67"/>
                  </a:lnTo>
                  <a:lnTo>
                    <a:pt x="11" y="67"/>
                  </a:lnTo>
                  <a:lnTo>
                    <a:pt x="11" y="71"/>
                  </a:lnTo>
                  <a:lnTo>
                    <a:pt x="6" y="71"/>
                  </a:lnTo>
                  <a:lnTo>
                    <a:pt x="6" y="75"/>
                  </a:lnTo>
                  <a:lnTo>
                    <a:pt x="3" y="75"/>
                  </a:lnTo>
                  <a:lnTo>
                    <a:pt x="3" y="77"/>
                  </a:lnTo>
                  <a:lnTo>
                    <a:pt x="0" y="77"/>
                  </a:lnTo>
                </a:path>
              </a:pathLst>
            </a:custGeom>
            <a:noFill/>
            <a:ln w="3175" cap="flat">
              <a:solidFill>
                <a:srgbClr val="F2F0E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7" name="Freeform 1736">
              <a:extLst>
                <a:ext uri="{FF2B5EF4-FFF2-40B4-BE49-F238E27FC236}">
                  <a16:creationId xmlns:a16="http://schemas.microsoft.com/office/drawing/2014/main" id="{A6BC1764-2A8B-4BCF-85A2-44E5FE89B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1" y="2499"/>
              <a:ext cx="64" cy="81"/>
            </a:xfrm>
            <a:custGeom>
              <a:avLst/>
              <a:gdLst>
                <a:gd name="T0" fmla="*/ 0 w 64"/>
                <a:gd name="T1" fmla="*/ 0 h 81"/>
                <a:gd name="T2" fmla="*/ 0 w 64"/>
                <a:gd name="T3" fmla="*/ 14 h 81"/>
                <a:gd name="T4" fmla="*/ 60 w 64"/>
                <a:gd name="T5" fmla="*/ 81 h 81"/>
                <a:gd name="T6" fmla="*/ 64 w 64"/>
                <a:gd name="T7" fmla="*/ 81 h 81"/>
                <a:gd name="T8" fmla="*/ 64 w 64"/>
                <a:gd name="T9" fmla="*/ 22 h 81"/>
                <a:gd name="T10" fmla="*/ 53 w 64"/>
                <a:gd name="T11" fmla="*/ 22 h 81"/>
                <a:gd name="T12" fmla="*/ 53 w 64"/>
                <a:gd name="T13" fmla="*/ 11 h 81"/>
                <a:gd name="T14" fmla="*/ 14 w 64"/>
                <a:gd name="T15" fmla="*/ 11 h 81"/>
                <a:gd name="T16" fmla="*/ 14 w 64"/>
                <a:gd name="T17" fmla="*/ 0 h 81"/>
                <a:gd name="T18" fmla="*/ 0 w 64"/>
                <a:gd name="T1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81">
                  <a:moveTo>
                    <a:pt x="0" y="0"/>
                  </a:moveTo>
                  <a:lnTo>
                    <a:pt x="0" y="14"/>
                  </a:lnTo>
                  <a:lnTo>
                    <a:pt x="60" y="81"/>
                  </a:lnTo>
                  <a:lnTo>
                    <a:pt x="64" y="81"/>
                  </a:lnTo>
                  <a:lnTo>
                    <a:pt x="64" y="22"/>
                  </a:lnTo>
                  <a:lnTo>
                    <a:pt x="53" y="22"/>
                  </a:lnTo>
                  <a:lnTo>
                    <a:pt x="53" y="11"/>
                  </a:lnTo>
                  <a:lnTo>
                    <a:pt x="14" y="11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FAD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8" name="Freeform 1737">
              <a:extLst>
                <a:ext uri="{FF2B5EF4-FFF2-40B4-BE49-F238E27FC236}">
                  <a16:creationId xmlns:a16="http://schemas.microsoft.com/office/drawing/2014/main" id="{A1AABE65-2352-4FA7-B5CF-D4BA8569F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1" y="1706"/>
              <a:ext cx="66" cy="61"/>
            </a:xfrm>
            <a:custGeom>
              <a:avLst/>
              <a:gdLst>
                <a:gd name="T0" fmla="*/ 22 w 42"/>
                <a:gd name="T1" fmla="*/ 34 h 39"/>
                <a:gd name="T2" fmla="*/ 24 w 42"/>
                <a:gd name="T3" fmla="*/ 33 h 39"/>
                <a:gd name="T4" fmla="*/ 24 w 42"/>
                <a:gd name="T5" fmla="*/ 31 h 39"/>
                <a:gd name="T6" fmla="*/ 26 w 42"/>
                <a:gd name="T7" fmla="*/ 31 h 39"/>
                <a:gd name="T8" fmla="*/ 26 w 42"/>
                <a:gd name="T9" fmla="*/ 29 h 39"/>
                <a:gd name="T10" fmla="*/ 28 w 42"/>
                <a:gd name="T11" fmla="*/ 29 h 39"/>
                <a:gd name="T12" fmla="*/ 28 w 42"/>
                <a:gd name="T13" fmla="*/ 28 h 39"/>
                <a:gd name="T14" fmla="*/ 30 w 42"/>
                <a:gd name="T15" fmla="*/ 27 h 39"/>
                <a:gd name="T16" fmla="*/ 30 w 42"/>
                <a:gd name="T17" fmla="*/ 25 h 39"/>
                <a:gd name="T18" fmla="*/ 32 w 42"/>
                <a:gd name="T19" fmla="*/ 25 h 39"/>
                <a:gd name="T20" fmla="*/ 32 w 42"/>
                <a:gd name="T21" fmla="*/ 23 h 39"/>
                <a:gd name="T22" fmla="*/ 34 w 42"/>
                <a:gd name="T23" fmla="*/ 23 h 39"/>
                <a:gd name="T24" fmla="*/ 34 w 42"/>
                <a:gd name="T25" fmla="*/ 22 h 39"/>
                <a:gd name="T26" fmla="*/ 36 w 42"/>
                <a:gd name="T27" fmla="*/ 21 h 39"/>
                <a:gd name="T28" fmla="*/ 36 w 42"/>
                <a:gd name="T29" fmla="*/ 20 h 39"/>
                <a:gd name="T30" fmla="*/ 37 w 42"/>
                <a:gd name="T31" fmla="*/ 19 h 39"/>
                <a:gd name="T32" fmla="*/ 38 w 42"/>
                <a:gd name="T33" fmla="*/ 18 h 39"/>
                <a:gd name="T34" fmla="*/ 39 w 42"/>
                <a:gd name="T35" fmla="*/ 18 h 39"/>
                <a:gd name="T36" fmla="*/ 40 w 42"/>
                <a:gd name="T37" fmla="*/ 16 h 39"/>
                <a:gd name="T38" fmla="*/ 40 w 42"/>
                <a:gd name="T39" fmla="*/ 15 h 39"/>
                <a:gd name="T40" fmla="*/ 42 w 42"/>
                <a:gd name="T41" fmla="*/ 15 h 39"/>
                <a:gd name="T42" fmla="*/ 42 w 42"/>
                <a:gd name="T43" fmla="*/ 14 h 39"/>
                <a:gd name="T44" fmla="*/ 41 w 42"/>
                <a:gd name="T45" fmla="*/ 14 h 39"/>
                <a:gd name="T46" fmla="*/ 40 w 42"/>
                <a:gd name="T47" fmla="*/ 12 h 39"/>
                <a:gd name="T48" fmla="*/ 39 w 42"/>
                <a:gd name="T49" fmla="*/ 12 h 39"/>
                <a:gd name="T50" fmla="*/ 38 w 42"/>
                <a:gd name="T51" fmla="*/ 11 h 39"/>
                <a:gd name="T52" fmla="*/ 37 w 42"/>
                <a:gd name="T53" fmla="*/ 10 h 39"/>
                <a:gd name="T54" fmla="*/ 36 w 42"/>
                <a:gd name="T55" fmla="*/ 9 h 39"/>
                <a:gd name="T56" fmla="*/ 34 w 42"/>
                <a:gd name="T57" fmla="*/ 8 h 39"/>
                <a:gd name="T58" fmla="*/ 34 w 42"/>
                <a:gd name="T59" fmla="*/ 8 h 39"/>
                <a:gd name="T60" fmla="*/ 34 w 42"/>
                <a:gd name="T61" fmla="*/ 6 h 39"/>
                <a:gd name="T62" fmla="*/ 33 w 42"/>
                <a:gd name="T63" fmla="*/ 6 h 39"/>
                <a:gd name="T64" fmla="*/ 32 w 42"/>
                <a:gd name="T65" fmla="*/ 4 h 39"/>
                <a:gd name="T66" fmla="*/ 32 w 42"/>
                <a:gd name="T67" fmla="*/ 4 h 39"/>
                <a:gd name="T68" fmla="*/ 31 w 42"/>
                <a:gd name="T69" fmla="*/ 4 h 39"/>
                <a:gd name="T70" fmla="*/ 30 w 42"/>
                <a:gd name="T71" fmla="*/ 2 h 39"/>
                <a:gd name="T72" fmla="*/ 29 w 42"/>
                <a:gd name="T73" fmla="*/ 2 h 39"/>
                <a:gd name="T74" fmla="*/ 28 w 42"/>
                <a:gd name="T75" fmla="*/ 0 h 39"/>
                <a:gd name="T76" fmla="*/ 28 w 42"/>
                <a:gd name="T77" fmla="*/ 0 h 39"/>
                <a:gd name="T78" fmla="*/ 23 w 42"/>
                <a:gd name="T79" fmla="*/ 0 h 39"/>
                <a:gd name="T80" fmla="*/ 23 w 42"/>
                <a:gd name="T81" fmla="*/ 0 h 39"/>
                <a:gd name="T82" fmla="*/ 15 w 42"/>
                <a:gd name="T83" fmla="*/ 11 h 39"/>
                <a:gd name="T84" fmla="*/ 0 w 42"/>
                <a:gd name="T85" fmla="*/ 24 h 39"/>
                <a:gd name="T86" fmla="*/ 18 w 42"/>
                <a:gd name="T87" fmla="*/ 39 h 39"/>
                <a:gd name="T88" fmla="*/ 18 w 42"/>
                <a:gd name="T89" fmla="*/ 38 h 39"/>
                <a:gd name="T90" fmla="*/ 20 w 42"/>
                <a:gd name="T91" fmla="*/ 37 h 39"/>
                <a:gd name="T92" fmla="*/ 20 w 42"/>
                <a:gd name="T93" fmla="*/ 36 h 39"/>
                <a:gd name="T94" fmla="*/ 22 w 42"/>
                <a:gd name="T95" fmla="*/ 36 h 39"/>
                <a:gd name="T96" fmla="*/ 22 w 42"/>
                <a:gd name="T97" fmla="*/ 3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" h="39">
                  <a:moveTo>
                    <a:pt x="22" y="34"/>
                  </a:moveTo>
                  <a:cubicBezTo>
                    <a:pt x="22" y="33"/>
                    <a:pt x="23" y="33"/>
                    <a:pt x="24" y="33"/>
                  </a:cubicBezTo>
                  <a:cubicBezTo>
                    <a:pt x="24" y="33"/>
                    <a:pt x="24" y="32"/>
                    <a:pt x="24" y="31"/>
                  </a:cubicBezTo>
                  <a:cubicBezTo>
                    <a:pt x="25" y="31"/>
                    <a:pt x="25" y="31"/>
                    <a:pt x="26" y="31"/>
                  </a:cubicBezTo>
                  <a:cubicBezTo>
                    <a:pt x="26" y="31"/>
                    <a:pt x="26" y="30"/>
                    <a:pt x="26" y="29"/>
                  </a:cubicBezTo>
                  <a:cubicBezTo>
                    <a:pt x="27" y="29"/>
                    <a:pt x="27" y="29"/>
                    <a:pt x="28" y="29"/>
                  </a:cubicBezTo>
                  <a:cubicBezTo>
                    <a:pt x="28" y="29"/>
                    <a:pt x="28" y="28"/>
                    <a:pt x="28" y="28"/>
                  </a:cubicBezTo>
                  <a:cubicBezTo>
                    <a:pt x="29" y="27"/>
                    <a:pt x="29" y="27"/>
                    <a:pt x="30" y="27"/>
                  </a:cubicBezTo>
                  <a:cubicBezTo>
                    <a:pt x="30" y="27"/>
                    <a:pt x="30" y="26"/>
                    <a:pt x="30" y="25"/>
                  </a:cubicBezTo>
                  <a:cubicBezTo>
                    <a:pt x="31" y="25"/>
                    <a:pt x="31" y="25"/>
                    <a:pt x="32" y="25"/>
                  </a:cubicBezTo>
                  <a:cubicBezTo>
                    <a:pt x="32" y="25"/>
                    <a:pt x="32" y="24"/>
                    <a:pt x="32" y="23"/>
                  </a:cubicBezTo>
                  <a:cubicBezTo>
                    <a:pt x="33" y="23"/>
                    <a:pt x="33" y="23"/>
                    <a:pt x="34" y="23"/>
                  </a:cubicBezTo>
                  <a:cubicBezTo>
                    <a:pt x="34" y="23"/>
                    <a:pt x="34" y="22"/>
                    <a:pt x="34" y="22"/>
                  </a:cubicBezTo>
                  <a:cubicBezTo>
                    <a:pt x="35" y="22"/>
                    <a:pt x="35" y="21"/>
                    <a:pt x="36" y="21"/>
                  </a:cubicBezTo>
                  <a:cubicBezTo>
                    <a:pt x="36" y="21"/>
                    <a:pt x="36" y="20"/>
                    <a:pt x="36" y="20"/>
                  </a:cubicBezTo>
                  <a:cubicBezTo>
                    <a:pt x="36" y="20"/>
                    <a:pt x="36" y="19"/>
                    <a:pt x="37" y="19"/>
                  </a:cubicBezTo>
                  <a:cubicBezTo>
                    <a:pt x="38" y="20"/>
                    <a:pt x="38" y="19"/>
                    <a:pt x="38" y="18"/>
                  </a:cubicBezTo>
                  <a:cubicBezTo>
                    <a:pt x="38" y="18"/>
                    <a:pt x="38" y="18"/>
                    <a:pt x="39" y="18"/>
                  </a:cubicBezTo>
                  <a:cubicBezTo>
                    <a:pt x="40" y="17"/>
                    <a:pt x="40" y="17"/>
                    <a:pt x="40" y="16"/>
                  </a:cubicBezTo>
                  <a:cubicBezTo>
                    <a:pt x="40" y="16"/>
                    <a:pt x="40" y="16"/>
                    <a:pt x="40" y="15"/>
                  </a:cubicBezTo>
                  <a:cubicBezTo>
                    <a:pt x="41" y="15"/>
                    <a:pt x="41" y="15"/>
                    <a:pt x="42" y="15"/>
                  </a:cubicBezTo>
                  <a:cubicBezTo>
                    <a:pt x="42" y="15"/>
                    <a:pt x="42" y="14"/>
                    <a:pt x="42" y="14"/>
                  </a:cubicBezTo>
                  <a:cubicBezTo>
                    <a:pt x="42" y="14"/>
                    <a:pt x="41" y="14"/>
                    <a:pt x="41" y="14"/>
                  </a:cubicBezTo>
                  <a:cubicBezTo>
                    <a:pt x="40" y="14"/>
                    <a:pt x="40" y="14"/>
                    <a:pt x="40" y="12"/>
                  </a:cubicBezTo>
                  <a:cubicBezTo>
                    <a:pt x="40" y="11"/>
                    <a:pt x="39" y="12"/>
                    <a:pt x="39" y="12"/>
                  </a:cubicBezTo>
                  <a:cubicBezTo>
                    <a:pt x="38" y="12"/>
                    <a:pt x="38" y="12"/>
                    <a:pt x="38" y="11"/>
                  </a:cubicBezTo>
                  <a:cubicBezTo>
                    <a:pt x="38" y="10"/>
                    <a:pt x="38" y="10"/>
                    <a:pt x="37" y="10"/>
                  </a:cubicBezTo>
                  <a:cubicBezTo>
                    <a:pt x="36" y="10"/>
                    <a:pt x="36" y="9"/>
                    <a:pt x="36" y="9"/>
                  </a:cubicBezTo>
                  <a:cubicBezTo>
                    <a:pt x="36" y="8"/>
                    <a:pt x="36" y="8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7"/>
                    <a:pt x="34" y="7"/>
                    <a:pt x="34" y="6"/>
                  </a:cubicBezTo>
                  <a:cubicBezTo>
                    <a:pt x="34" y="6"/>
                    <a:pt x="34" y="6"/>
                    <a:pt x="33" y="6"/>
                  </a:cubicBezTo>
                  <a:cubicBezTo>
                    <a:pt x="32" y="6"/>
                    <a:pt x="32" y="5"/>
                    <a:pt x="3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4"/>
                    <a:pt x="32" y="4"/>
                    <a:pt x="31" y="4"/>
                  </a:cubicBezTo>
                  <a:cubicBezTo>
                    <a:pt x="30" y="4"/>
                    <a:pt x="30" y="4"/>
                    <a:pt x="30" y="2"/>
                  </a:cubicBezTo>
                  <a:cubicBezTo>
                    <a:pt x="30" y="2"/>
                    <a:pt x="30" y="1"/>
                    <a:pt x="29" y="2"/>
                  </a:cubicBezTo>
                  <a:cubicBezTo>
                    <a:pt x="28" y="2"/>
                    <a:pt x="28" y="1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4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8"/>
                    <a:pt x="18" y="38"/>
                  </a:cubicBezTo>
                  <a:cubicBezTo>
                    <a:pt x="18" y="37"/>
                    <a:pt x="19" y="37"/>
                    <a:pt x="20" y="37"/>
                  </a:cubicBezTo>
                  <a:cubicBezTo>
                    <a:pt x="20" y="37"/>
                    <a:pt x="20" y="36"/>
                    <a:pt x="20" y="36"/>
                  </a:cubicBezTo>
                  <a:cubicBezTo>
                    <a:pt x="21" y="36"/>
                    <a:pt x="21" y="36"/>
                    <a:pt x="22" y="36"/>
                  </a:cubicBezTo>
                  <a:cubicBezTo>
                    <a:pt x="22" y="35"/>
                    <a:pt x="22" y="34"/>
                    <a:pt x="22" y="34"/>
                  </a:cubicBezTo>
                  <a:close/>
                </a:path>
              </a:pathLst>
            </a:custGeom>
            <a:solidFill>
              <a:srgbClr val="54A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9" name="Freeform 1738">
              <a:extLst>
                <a:ext uri="{FF2B5EF4-FFF2-40B4-BE49-F238E27FC236}">
                  <a16:creationId xmlns:a16="http://schemas.microsoft.com/office/drawing/2014/main" id="{7B4B4063-DE09-4432-970C-61E255869E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1" y="1086"/>
              <a:ext cx="93" cy="61"/>
            </a:xfrm>
            <a:custGeom>
              <a:avLst/>
              <a:gdLst>
                <a:gd name="T0" fmla="*/ 43 w 93"/>
                <a:gd name="T1" fmla="*/ 7 h 61"/>
                <a:gd name="T2" fmla="*/ 32 w 93"/>
                <a:gd name="T3" fmla="*/ 7 h 61"/>
                <a:gd name="T4" fmla="*/ 32 w 93"/>
                <a:gd name="T5" fmla="*/ 7 h 61"/>
                <a:gd name="T6" fmla="*/ 32 w 93"/>
                <a:gd name="T7" fmla="*/ 0 h 61"/>
                <a:gd name="T8" fmla="*/ 30 w 93"/>
                <a:gd name="T9" fmla="*/ 0 h 61"/>
                <a:gd name="T10" fmla="*/ 2 w 93"/>
                <a:gd name="T11" fmla="*/ 36 h 61"/>
                <a:gd name="T12" fmla="*/ 0 w 93"/>
                <a:gd name="T13" fmla="*/ 38 h 61"/>
                <a:gd name="T14" fmla="*/ 27 w 93"/>
                <a:gd name="T15" fmla="*/ 36 h 61"/>
                <a:gd name="T16" fmla="*/ 27 w 93"/>
                <a:gd name="T17" fmla="*/ 38 h 61"/>
                <a:gd name="T18" fmla="*/ 27 w 93"/>
                <a:gd name="T19" fmla="*/ 46 h 61"/>
                <a:gd name="T20" fmla="*/ 25 w 93"/>
                <a:gd name="T21" fmla="*/ 46 h 61"/>
                <a:gd name="T22" fmla="*/ 21 w 93"/>
                <a:gd name="T23" fmla="*/ 46 h 61"/>
                <a:gd name="T24" fmla="*/ 21 w 93"/>
                <a:gd name="T25" fmla="*/ 46 h 61"/>
                <a:gd name="T26" fmla="*/ 21 w 93"/>
                <a:gd name="T27" fmla="*/ 44 h 61"/>
                <a:gd name="T28" fmla="*/ 19 w 93"/>
                <a:gd name="T29" fmla="*/ 44 h 61"/>
                <a:gd name="T30" fmla="*/ 2 w 93"/>
                <a:gd name="T31" fmla="*/ 44 h 61"/>
                <a:gd name="T32" fmla="*/ 4 w 93"/>
                <a:gd name="T33" fmla="*/ 46 h 61"/>
                <a:gd name="T34" fmla="*/ 4 w 93"/>
                <a:gd name="T35" fmla="*/ 54 h 61"/>
                <a:gd name="T36" fmla="*/ 4 w 93"/>
                <a:gd name="T37" fmla="*/ 54 h 61"/>
                <a:gd name="T38" fmla="*/ 10 w 93"/>
                <a:gd name="T39" fmla="*/ 52 h 61"/>
                <a:gd name="T40" fmla="*/ 10 w 93"/>
                <a:gd name="T41" fmla="*/ 54 h 61"/>
                <a:gd name="T42" fmla="*/ 10 w 93"/>
                <a:gd name="T43" fmla="*/ 55 h 61"/>
                <a:gd name="T44" fmla="*/ 10 w 93"/>
                <a:gd name="T45" fmla="*/ 55 h 61"/>
                <a:gd name="T46" fmla="*/ 11 w 93"/>
                <a:gd name="T47" fmla="*/ 55 h 61"/>
                <a:gd name="T48" fmla="*/ 11 w 93"/>
                <a:gd name="T49" fmla="*/ 57 h 61"/>
                <a:gd name="T50" fmla="*/ 11 w 93"/>
                <a:gd name="T51" fmla="*/ 58 h 61"/>
                <a:gd name="T52" fmla="*/ 13 w 93"/>
                <a:gd name="T53" fmla="*/ 58 h 61"/>
                <a:gd name="T54" fmla="*/ 21 w 93"/>
                <a:gd name="T55" fmla="*/ 58 h 61"/>
                <a:gd name="T56" fmla="*/ 21 w 93"/>
                <a:gd name="T57" fmla="*/ 60 h 61"/>
                <a:gd name="T58" fmla="*/ 21 w 93"/>
                <a:gd name="T59" fmla="*/ 61 h 61"/>
                <a:gd name="T60" fmla="*/ 22 w 93"/>
                <a:gd name="T61" fmla="*/ 61 h 61"/>
                <a:gd name="T62" fmla="*/ 60 w 93"/>
                <a:gd name="T63" fmla="*/ 60 h 61"/>
                <a:gd name="T64" fmla="*/ 60 w 93"/>
                <a:gd name="T65" fmla="*/ 57 h 61"/>
                <a:gd name="T66" fmla="*/ 69 w 93"/>
                <a:gd name="T67" fmla="*/ 57 h 61"/>
                <a:gd name="T68" fmla="*/ 73 w 93"/>
                <a:gd name="T69" fmla="*/ 52 h 61"/>
                <a:gd name="T70" fmla="*/ 76 w 93"/>
                <a:gd name="T71" fmla="*/ 49 h 61"/>
                <a:gd name="T72" fmla="*/ 93 w 93"/>
                <a:gd name="T73" fmla="*/ 47 h 61"/>
                <a:gd name="T74" fmla="*/ 93 w 93"/>
                <a:gd name="T75" fmla="*/ 47 h 61"/>
                <a:gd name="T76" fmla="*/ 93 w 93"/>
                <a:gd name="T77" fmla="*/ 41 h 61"/>
                <a:gd name="T78" fmla="*/ 91 w 93"/>
                <a:gd name="T79" fmla="*/ 41 h 61"/>
                <a:gd name="T80" fmla="*/ 69 w 93"/>
                <a:gd name="T81" fmla="*/ 43 h 61"/>
                <a:gd name="T82" fmla="*/ 69 w 93"/>
                <a:gd name="T83" fmla="*/ 41 h 61"/>
                <a:gd name="T84" fmla="*/ 68 w 93"/>
                <a:gd name="T85" fmla="*/ 30 h 61"/>
                <a:gd name="T86" fmla="*/ 68 w 93"/>
                <a:gd name="T87" fmla="*/ 30 h 61"/>
                <a:gd name="T88" fmla="*/ 47 w 93"/>
                <a:gd name="T89" fmla="*/ 30 h 61"/>
                <a:gd name="T90" fmla="*/ 47 w 93"/>
                <a:gd name="T91" fmla="*/ 33 h 61"/>
                <a:gd name="T92" fmla="*/ 35 w 93"/>
                <a:gd name="T93" fmla="*/ 33 h 61"/>
                <a:gd name="T94" fmla="*/ 35 w 93"/>
                <a:gd name="T95" fmla="*/ 30 h 61"/>
                <a:gd name="T96" fmla="*/ 35 w 93"/>
                <a:gd name="T97" fmla="*/ 22 h 61"/>
                <a:gd name="T98" fmla="*/ 36 w 93"/>
                <a:gd name="T99" fmla="*/ 22 h 61"/>
                <a:gd name="T100" fmla="*/ 44 w 93"/>
                <a:gd name="T101" fmla="*/ 22 h 61"/>
                <a:gd name="T102" fmla="*/ 44 w 93"/>
                <a:gd name="T103" fmla="*/ 21 h 61"/>
                <a:gd name="T104" fmla="*/ 43 w 93"/>
                <a:gd name="T105" fmla="*/ 8 h 61"/>
                <a:gd name="T106" fmla="*/ 43 w 93"/>
                <a:gd name="T107" fmla="*/ 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3" h="61">
                  <a:moveTo>
                    <a:pt x="43" y="7"/>
                  </a:moveTo>
                  <a:lnTo>
                    <a:pt x="32" y="7"/>
                  </a:lnTo>
                  <a:lnTo>
                    <a:pt x="32" y="7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2" y="36"/>
                  </a:lnTo>
                  <a:lnTo>
                    <a:pt x="0" y="38"/>
                  </a:lnTo>
                  <a:lnTo>
                    <a:pt x="27" y="36"/>
                  </a:lnTo>
                  <a:lnTo>
                    <a:pt x="27" y="38"/>
                  </a:lnTo>
                  <a:lnTo>
                    <a:pt x="27" y="46"/>
                  </a:lnTo>
                  <a:lnTo>
                    <a:pt x="25" y="46"/>
                  </a:lnTo>
                  <a:lnTo>
                    <a:pt x="21" y="46"/>
                  </a:lnTo>
                  <a:lnTo>
                    <a:pt x="21" y="46"/>
                  </a:lnTo>
                  <a:lnTo>
                    <a:pt x="21" y="44"/>
                  </a:lnTo>
                  <a:lnTo>
                    <a:pt x="19" y="44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10" y="52"/>
                  </a:lnTo>
                  <a:lnTo>
                    <a:pt x="10" y="54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1" y="55"/>
                  </a:lnTo>
                  <a:lnTo>
                    <a:pt x="11" y="57"/>
                  </a:lnTo>
                  <a:lnTo>
                    <a:pt x="11" y="58"/>
                  </a:lnTo>
                  <a:lnTo>
                    <a:pt x="13" y="58"/>
                  </a:lnTo>
                  <a:lnTo>
                    <a:pt x="21" y="58"/>
                  </a:lnTo>
                  <a:lnTo>
                    <a:pt x="21" y="60"/>
                  </a:lnTo>
                  <a:lnTo>
                    <a:pt x="21" y="61"/>
                  </a:lnTo>
                  <a:lnTo>
                    <a:pt x="22" y="61"/>
                  </a:lnTo>
                  <a:lnTo>
                    <a:pt x="60" y="60"/>
                  </a:lnTo>
                  <a:lnTo>
                    <a:pt x="60" y="57"/>
                  </a:lnTo>
                  <a:lnTo>
                    <a:pt x="69" y="57"/>
                  </a:lnTo>
                  <a:lnTo>
                    <a:pt x="73" y="52"/>
                  </a:lnTo>
                  <a:lnTo>
                    <a:pt x="76" y="49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1"/>
                  </a:lnTo>
                  <a:lnTo>
                    <a:pt x="91" y="41"/>
                  </a:lnTo>
                  <a:lnTo>
                    <a:pt x="69" y="43"/>
                  </a:lnTo>
                  <a:lnTo>
                    <a:pt x="69" y="4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47" y="30"/>
                  </a:lnTo>
                  <a:lnTo>
                    <a:pt x="47" y="33"/>
                  </a:lnTo>
                  <a:lnTo>
                    <a:pt x="35" y="33"/>
                  </a:lnTo>
                  <a:lnTo>
                    <a:pt x="35" y="30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44" y="22"/>
                  </a:lnTo>
                  <a:lnTo>
                    <a:pt x="44" y="21"/>
                  </a:lnTo>
                  <a:lnTo>
                    <a:pt x="43" y="8"/>
                  </a:lnTo>
                  <a:lnTo>
                    <a:pt x="43" y="7"/>
                  </a:lnTo>
                  <a:close/>
                </a:path>
              </a:pathLst>
            </a:custGeom>
            <a:solidFill>
              <a:srgbClr val="54A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0" name="Freeform 1739">
              <a:extLst>
                <a:ext uri="{FF2B5EF4-FFF2-40B4-BE49-F238E27FC236}">
                  <a16:creationId xmlns:a16="http://schemas.microsoft.com/office/drawing/2014/main" id="{E4F7EA69-A3DF-4403-9B80-2055EC95A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8" y="1147"/>
              <a:ext cx="96" cy="30"/>
            </a:xfrm>
            <a:custGeom>
              <a:avLst/>
              <a:gdLst>
                <a:gd name="T0" fmla="*/ 2 w 96"/>
                <a:gd name="T1" fmla="*/ 30 h 30"/>
                <a:gd name="T2" fmla="*/ 49 w 96"/>
                <a:gd name="T3" fmla="*/ 30 h 30"/>
                <a:gd name="T4" fmla="*/ 49 w 96"/>
                <a:gd name="T5" fmla="*/ 29 h 30"/>
                <a:gd name="T6" fmla="*/ 49 w 96"/>
                <a:gd name="T7" fmla="*/ 18 h 30"/>
                <a:gd name="T8" fmla="*/ 49 w 96"/>
                <a:gd name="T9" fmla="*/ 18 h 30"/>
                <a:gd name="T10" fmla="*/ 96 w 96"/>
                <a:gd name="T11" fmla="*/ 16 h 30"/>
                <a:gd name="T12" fmla="*/ 96 w 96"/>
                <a:gd name="T13" fmla="*/ 15 h 30"/>
                <a:gd name="T14" fmla="*/ 96 w 96"/>
                <a:gd name="T15" fmla="*/ 7 h 30"/>
                <a:gd name="T16" fmla="*/ 94 w 96"/>
                <a:gd name="T17" fmla="*/ 8 h 30"/>
                <a:gd name="T18" fmla="*/ 76 w 96"/>
                <a:gd name="T19" fmla="*/ 8 h 30"/>
                <a:gd name="T20" fmla="*/ 76 w 96"/>
                <a:gd name="T21" fmla="*/ 2 h 30"/>
                <a:gd name="T22" fmla="*/ 69 w 96"/>
                <a:gd name="T23" fmla="*/ 2 h 30"/>
                <a:gd name="T24" fmla="*/ 69 w 96"/>
                <a:gd name="T25" fmla="*/ 5 h 30"/>
                <a:gd name="T26" fmla="*/ 61 w 96"/>
                <a:gd name="T27" fmla="*/ 5 h 30"/>
                <a:gd name="T28" fmla="*/ 61 w 96"/>
                <a:gd name="T29" fmla="*/ 8 h 30"/>
                <a:gd name="T30" fmla="*/ 19 w 96"/>
                <a:gd name="T31" fmla="*/ 10 h 30"/>
                <a:gd name="T32" fmla="*/ 19 w 96"/>
                <a:gd name="T33" fmla="*/ 8 h 30"/>
                <a:gd name="T34" fmla="*/ 18 w 96"/>
                <a:gd name="T35" fmla="*/ 4 h 30"/>
                <a:gd name="T36" fmla="*/ 7 w 96"/>
                <a:gd name="T37" fmla="*/ 4 h 30"/>
                <a:gd name="T38" fmla="*/ 7 w 96"/>
                <a:gd name="T39" fmla="*/ 0 h 30"/>
                <a:gd name="T40" fmla="*/ 3 w 96"/>
                <a:gd name="T41" fmla="*/ 0 h 30"/>
                <a:gd name="T42" fmla="*/ 3 w 96"/>
                <a:gd name="T43" fmla="*/ 7 h 30"/>
                <a:gd name="T44" fmla="*/ 0 w 96"/>
                <a:gd name="T45" fmla="*/ 7 h 30"/>
                <a:gd name="T46" fmla="*/ 0 w 96"/>
                <a:gd name="T47" fmla="*/ 30 h 30"/>
                <a:gd name="T48" fmla="*/ 2 w 96"/>
                <a:gd name="T4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30">
                  <a:moveTo>
                    <a:pt x="2" y="30"/>
                  </a:moveTo>
                  <a:lnTo>
                    <a:pt x="49" y="30"/>
                  </a:lnTo>
                  <a:lnTo>
                    <a:pt x="49" y="29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96" y="16"/>
                  </a:lnTo>
                  <a:lnTo>
                    <a:pt x="96" y="15"/>
                  </a:lnTo>
                  <a:lnTo>
                    <a:pt x="96" y="7"/>
                  </a:lnTo>
                  <a:lnTo>
                    <a:pt x="94" y="8"/>
                  </a:lnTo>
                  <a:lnTo>
                    <a:pt x="76" y="8"/>
                  </a:lnTo>
                  <a:lnTo>
                    <a:pt x="76" y="2"/>
                  </a:lnTo>
                  <a:lnTo>
                    <a:pt x="69" y="2"/>
                  </a:lnTo>
                  <a:lnTo>
                    <a:pt x="69" y="5"/>
                  </a:lnTo>
                  <a:lnTo>
                    <a:pt x="61" y="5"/>
                  </a:lnTo>
                  <a:lnTo>
                    <a:pt x="61" y="8"/>
                  </a:lnTo>
                  <a:lnTo>
                    <a:pt x="19" y="10"/>
                  </a:lnTo>
                  <a:lnTo>
                    <a:pt x="19" y="8"/>
                  </a:lnTo>
                  <a:lnTo>
                    <a:pt x="18" y="4"/>
                  </a:lnTo>
                  <a:lnTo>
                    <a:pt x="7" y="4"/>
                  </a:lnTo>
                  <a:lnTo>
                    <a:pt x="7" y="0"/>
                  </a:lnTo>
                  <a:lnTo>
                    <a:pt x="3" y="0"/>
                  </a:lnTo>
                  <a:lnTo>
                    <a:pt x="3" y="7"/>
                  </a:lnTo>
                  <a:lnTo>
                    <a:pt x="0" y="7"/>
                  </a:lnTo>
                  <a:lnTo>
                    <a:pt x="0" y="30"/>
                  </a:lnTo>
                  <a:lnTo>
                    <a:pt x="2" y="30"/>
                  </a:lnTo>
                  <a:close/>
                </a:path>
              </a:pathLst>
            </a:custGeom>
            <a:solidFill>
              <a:srgbClr val="54A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1" name="Freeform 1740">
              <a:extLst>
                <a:ext uri="{FF2B5EF4-FFF2-40B4-BE49-F238E27FC236}">
                  <a16:creationId xmlns:a16="http://schemas.microsoft.com/office/drawing/2014/main" id="{60A70B2E-56D3-4E3B-9557-5CCA32304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5" y="1847"/>
              <a:ext cx="56" cy="69"/>
            </a:xfrm>
            <a:custGeom>
              <a:avLst/>
              <a:gdLst>
                <a:gd name="T0" fmla="*/ 0 w 36"/>
                <a:gd name="T1" fmla="*/ 9 h 44"/>
                <a:gd name="T2" fmla="*/ 1 w 36"/>
                <a:gd name="T3" fmla="*/ 1 h 44"/>
                <a:gd name="T4" fmla="*/ 1 w 36"/>
                <a:gd name="T5" fmla="*/ 1 h 44"/>
                <a:gd name="T6" fmla="*/ 1 w 36"/>
                <a:gd name="T7" fmla="*/ 0 h 44"/>
                <a:gd name="T8" fmla="*/ 36 w 36"/>
                <a:gd name="T9" fmla="*/ 1 h 44"/>
                <a:gd name="T10" fmla="*/ 36 w 36"/>
                <a:gd name="T11" fmla="*/ 2 h 44"/>
                <a:gd name="T12" fmla="*/ 36 w 36"/>
                <a:gd name="T13" fmla="*/ 2 h 44"/>
                <a:gd name="T14" fmla="*/ 35 w 36"/>
                <a:gd name="T15" fmla="*/ 25 h 44"/>
                <a:gd name="T16" fmla="*/ 35 w 36"/>
                <a:gd name="T17" fmla="*/ 25 h 44"/>
                <a:gd name="T18" fmla="*/ 35 w 36"/>
                <a:gd name="T19" fmla="*/ 26 h 44"/>
                <a:gd name="T20" fmla="*/ 35 w 36"/>
                <a:gd name="T21" fmla="*/ 26 h 44"/>
                <a:gd name="T22" fmla="*/ 29 w 36"/>
                <a:gd name="T23" fmla="*/ 44 h 44"/>
                <a:gd name="T24" fmla="*/ 28 w 36"/>
                <a:gd name="T25" fmla="*/ 44 h 44"/>
                <a:gd name="T26" fmla="*/ 27 w 36"/>
                <a:gd name="T27" fmla="*/ 44 h 44"/>
                <a:gd name="T28" fmla="*/ 25 w 36"/>
                <a:gd name="T29" fmla="*/ 44 h 44"/>
                <a:gd name="T30" fmla="*/ 25 w 36"/>
                <a:gd name="T31" fmla="*/ 44 h 44"/>
                <a:gd name="T32" fmla="*/ 24 w 36"/>
                <a:gd name="T33" fmla="*/ 43 h 44"/>
                <a:gd name="T34" fmla="*/ 24 w 36"/>
                <a:gd name="T35" fmla="*/ 43 h 44"/>
                <a:gd name="T36" fmla="*/ 1 w 36"/>
                <a:gd name="T37" fmla="*/ 10 h 44"/>
                <a:gd name="T38" fmla="*/ 0 w 36"/>
                <a:gd name="T39" fmla="*/ 10 h 44"/>
                <a:gd name="T40" fmla="*/ 0 w 36"/>
                <a:gd name="T41" fmla="*/ 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44">
                  <a:moveTo>
                    <a:pt x="0" y="9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9" y="44"/>
                    <a:pt x="29" y="44"/>
                    <a:pt x="28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0" y="10"/>
                    <a:pt x="0" y="10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rgbClr val="54A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9FBA14-A0F6-4A76-9C71-344F0C059957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6613525" y="4815527"/>
            <a:ext cx="759275" cy="113082"/>
          </a:xfrm>
        </p:spPr>
        <p:txBody>
          <a:bodyPr/>
          <a:lstStyle/>
          <a:p>
            <a:pPr>
              <a:lnSpc>
                <a:spcPct val="95000"/>
              </a:lnSpc>
            </a:pPr>
            <a:r>
              <a:rPr lang="en-GB" dirty="0"/>
              <a:t>October 19, 2021</a:t>
            </a:r>
          </a:p>
        </p:txBody>
      </p:sp>
      <p:sp>
        <p:nvSpPr>
          <p:cNvPr id="1752" name="Rectangle 1725">
            <a:extLst>
              <a:ext uri="{FF2B5EF4-FFF2-40B4-BE49-F238E27FC236}">
                <a16:creationId xmlns:a16="http://schemas.microsoft.com/office/drawing/2014/main" id="{4F1C9C03-3B1F-44D2-B6C2-DF29B1E093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92388" y="1871662"/>
            <a:ext cx="703263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00" b="0" i="0" u="none" strike="noStrike" cap="none" normalizeH="0" baseline="0">
                <a:ln>
                  <a:noFill/>
                </a:ln>
                <a:solidFill>
                  <a:srgbClr val="54A6DB"/>
                </a:solidFill>
                <a:effectLst/>
                <a:latin typeface="Orsted Sans" panose="00000500000000000000" pitchFamily="50" charset="0"/>
              </a:rPr>
              <a:t>Sunrise Wind </a:t>
            </a:r>
            <a:r>
              <a:rPr kumimoji="0" lang="en-US" altLang="en-US" sz="500" b="1" i="0" u="none" strike="noStrike" cap="none" normalizeH="0" baseline="0">
                <a:ln>
                  <a:noFill/>
                </a:ln>
                <a:solidFill>
                  <a:srgbClr val="54A6DB"/>
                </a:solidFill>
                <a:effectLst/>
                <a:latin typeface="Orsted Sans" panose="00000500000000000000" pitchFamily="50" charset="0"/>
              </a:rPr>
              <a:t>~924 MW</a:t>
            </a:r>
            <a:endParaRPr kumimoji="0" lang="en-US" alt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1753" name="Group 1752">
            <a:extLst>
              <a:ext uri="{FF2B5EF4-FFF2-40B4-BE49-F238E27FC236}">
                <a16:creationId xmlns:a16="http://schemas.microsoft.com/office/drawing/2014/main" id="{7EE1AC74-30BE-4A6A-A154-510EE61D5196}"/>
              </a:ext>
            </a:extLst>
          </p:cNvPr>
          <p:cNvGrpSpPr/>
          <p:nvPr/>
        </p:nvGrpSpPr>
        <p:grpSpPr>
          <a:xfrm>
            <a:off x="433146" y="4402666"/>
            <a:ext cx="1532466" cy="525909"/>
            <a:chOff x="4775200" y="4258986"/>
            <a:chExt cx="1951144" cy="669590"/>
          </a:xfrm>
        </p:grpSpPr>
        <p:sp>
          <p:nvSpPr>
            <p:cNvPr id="1754" name="Rectangle 1753">
              <a:extLst>
                <a:ext uri="{FF2B5EF4-FFF2-40B4-BE49-F238E27FC236}">
                  <a16:creationId xmlns:a16="http://schemas.microsoft.com/office/drawing/2014/main" id="{AD2DC8E7-7F0D-4232-B9DA-2BEDD2E90EB9}"/>
                </a:ext>
              </a:extLst>
            </p:cNvPr>
            <p:cNvSpPr/>
            <p:nvPr/>
          </p:nvSpPr>
          <p:spPr>
            <a:xfrm>
              <a:off x="4775200" y="4258986"/>
              <a:ext cx="143933" cy="143933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6000"/>
                </a:lnSpc>
              </a:pPr>
              <a:endParaRPr lang="en-GB" sz="1300" noProof="0"/>
            </a:p>
          </p:txBody>
        </p:sp>
        <p:sp>
          <p:nvSpPr>
            <p:cNvPr id="1755" name="Rectangle 1754">
              <a:extLst>
                <a:ext uri="{FF2B5EF4-FFF2-40B4-BE49-F238E27FC236}">
                  <a16:creationId xmlns:a16="http://schemas.microsoft.com/office/drawing/2014/main" id="{4AEE957F-256A-4CB9-9BD6-0330A2A50348}"/>
                </a:ext>
              </a:extLst>
            </p:cNvPr>
            <p:cNvSpPr/>
            <p:nvPr/>
          </p:nvSpPr>
          <p:spPr>
            <a:xfrm>
              <a:off x="4775200" y="4523040"/>
              <a:ext cx="143933" cy="143933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6000"/>
                </a:lnSpc>
              </a:pPr>
              <a:endParaRPr lang="en-GB" sz="1300" noProof="0"/>
            </a:p>
          </p:txBody>
        </p:sp>
        <p:sp>
          <p:nvSpPr>
            <p:cNvPr id="1756" name="Rectangle 1755">
              <a:extLst>
                <a:ext uri="{FF2B5EF4-FFF2-40B4-BE49-F238E27FC236}">
                  <a16:creationId xmlns:a16="http://schemas.microsoft.com/office/drawing/2014/main" id="{61EC8A8E-2279-4BE3-9CD4-A663E96ABD61}"/>
                </a:ext>
              </a:extLst>
            </p:cNvPr>
            <p:cNvSpPr/>
            <p:nvPr/>
          </p:nvSpPr>
          <p:spPr>
            <a:xfrm>
              <a:off x="4775200" y="4784643"/>
              <a:ext cx="143933" cy="143933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6000"/>
                </a:lnSpc>
              </a:pPr>
              <a:endParaRPr lang="en-GB" sz="1300" noProof="0"/>
            </a:p>
          </p:txBody>
        </p:sp>
        <p:sp>
          <p:nvSpPr>
            <p:cNvPr id="1757" name="Date Placeholder 4">
              <a:extLst>
                <a:ext uri="{FF2B5EF4-FFF2-40B4-BE49-F238E27FC236}">
                  <a16:creationId xmlns:a16="http://schemas.microsoft.com/office/drawing/2014/main" id="{4CC78034-32FF-4743-AEC4-2EAF7A2D636D}"/>
                </a:ext>
              </a:extLst>
            </p:cNvPr>
            <p:cNvSpPr txBox="1">
              <a:spLocks/>
            </p:cNvSpPr>
            <p:nvPr/>
          </p:nvSpPr>
          <p:spPr>
            <a:xfrm>
              <a:off x="4995333" y="4290264"/>
              <a:ext cx="1402227" cy="92156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r" defTabSz="622048" rtl="0" eaLnBrk="1" latinLnBrk="0" hangingPunct="1">
                <a:defRPr lang="en-GB" sz="600" kern="1200" smtClean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  <a:sym typeface="Orsted Sans Office" panose="00000500000000000000" pitchFamily="2" charset="0"/>
                </a:defRPr>
              </a:lvl1pPr>
              <a:lvl2pPr marL="311024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22048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33073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44097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55121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66145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77169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88193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95000"/>
                </a:lnSpc>
              </a:pPr>
              <a:r>
                <a:rPr lang="en-US"/>
                <a:t>Awarded Ørsted project</a:t>
              </a:r>
            </a:p>
          </p:txBody>
        </p:sp>
        <p:sp>
          <p:nvSpPr>
            <p:cNvPr id="1758" name="Date Placeholder 4">
              <a:extLst>
                <a:ext uri="{FF2B5EF4-FFF2-40B4-BE49-F238E27FC236}">
                  <a16:creationId xmlns:a16="http://schemas.microsoft.com/office/drawing/2014/main" id="{456C35AB-BE55-4543-8788-5880B466A6F1}"/>
                </a:ext>
              </a:extLst>
            </p:cNvPr>
            <p:cNvSpPr txBox="1">
              <a:spLocks/>
            </p:cNvSpPr>
            <p:nvPr/>
          </p:nvSpPr>
          <p:spPr>
            <a:xfrm>
              <a:off x="4995335" y="4556478"/>
              <a:ext cx="1731009" cy="92156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r" defTabSz="622048" rtl="0" eaLnBrk="1" latinLnBrk="0" hangingPunct="1">
                <a:defRPr lang="en-GB" sz="600" kern="1200" smtClean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  <a:sym typeface="Orsted Sans Office" panose="00000500000000000000" pitchFamily="2" charset="0"/>
                </a:defRPr>
              </a:lvl1pPr>
              <a:lvl2pPr marL="311024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22048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33073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44097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55121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66145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77169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88193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95000"/>
                </a:lnSpc>
              </a:pPr>
              <a:r>
                <a:rPr lang="en-US"/>
                <a:t>Ørsted project in development</a:t>
              </a:r>
            </a:p>
          </p:txBody>
        </p:sp>
        <p:sp>
          <p:nvSpPr>
            <p:cNvPr id="1759" name="Date Placeholder 4">
              <a:extLst>
                <a:ext uri="{FF2B5EF4-FFF2-40B4-BE49-F238E27FC236}">
                  <a16:creationId xmlns:a16="http://schemas.microsoft.com/office/drawing/2014/main" id="{EE7687A2-DCC4-4E55-8C99-F94BA9C5240D}"/>
                </a:ext>
              </a:extLst>
            </p:cNvPr>
            <p:cNvSpPr txBox="1">
              <a:spLocks/>
            </p:cNvSpPr>
            <p:nvPr/>
          </p:nvSpPr>
          <p:spPr>
            <a:xfrm>
              <a:off x="4995333" y="4821047"/>
              <a:ext cx="1312334" cy="92156"/>
            </a:xfrm>
            <a:prstGeom prst="rect">
              <a:avLst/>
            </a:prstGeom>
          </p:spPr>
          <p:txBody>
            <a:bodyPr vert="horz" lIns="0" tIns="0" rIns="0" bIns="0" rtlCol="0" anchor="b" anchorCtr="0"/>
            <a:lstStyle>
              <a:defPPr>
                <a:defRPr lang="en-US"/>
              </a:defPPr>
              <a:lvl1pPr marL="0" algn="r" defTabSz="622048" rtl="0" eaLnBrk="1" latinLnBrk="0" hangingPunct="1">
                <a:defRPr lang="en-GB" sz="600" kern="1200" smtClean="0">
                  <a:solidFill>
                    <a:schemeClr val="tx2"/>
                  </a:solidFill>
                  <a:latin typeface="+mn-lt"/>
                  <a:ea typeface="+mn-ea"/>
                  <a:cs typeface="Arial" panose="020B0604020202020204" pitchFamily="34" charset="0"/>
                  <a:sym typeface="Orsted Sans Office" panose="00000500000000000000" pitchFamily="2" charset="0"/>
                </a:defRPr>
              </a:lvl1pPr>
              <a:lvl2pPr marL="311024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22048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33073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44097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55121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66145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77169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88193" algn="l" defTabSz="622048" rtl="0" eaLnBrk="1" latinLnBrk="0" hangingPunct="1">
                <a:defRPr sz="122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95000"/>
                </a:lnSpc>
              </a:pPr>
              <a:r>
                <a:rPr lang="en-US"/>
                <a:t>Industry projects</a:t>
              </a:r>
            </a:p>
          </p:txBody>
        </p:sp>
      </p:grpSp>
      <p:sp>
        <p:nvSpPr>
          <p:cNvPr id="1760" name="Text Placeholder 7">
            <a:extLst>
              <a:ext uri="{FF2B5EF4-FFF2-40B4-BE49-F238E27FC236}">
                <a16:creationId xmlns:a16="http://schemas.microsoft.com/office/drawing/2014/main" id="{4314F72D-FEA6-4BE6-ADDE-AB7E2402031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965613" y="4561200"/>
            <a:ext cx="2988054" cy="367200"/>
          </a:xfrm>
        </p:spPr>
        <p:txBody>
          <a:bodyPr/>
          <a:lstStyle/>
          <a:p>
            <a:r>
              <a:rPr lang="en-US"/>
              <a:t>Source: Ørsted Internal</a:t>
            </a:r>
          </a:p>
          <a:p>
            <a:r>
              <a:rPr lang="en-US"/>
              <a:t>Based on Public Data and Internal data as of August 2021</a:t>
            </a:r>
          </a:p>
          <a:p>
            <a:r>
              <a:rPr lang="en-US"/>
              <a:t>Capacity table based on announced, public COD target dates</a:t>
            </a:r>
          </a:p>
        </p:txBody>
      </p:sp>
      <p:sp>
        <p:nvSpPr>
          <p:cNvPr id="1761" name="Title 5">
            <a:extLst>
              <a:ext uri="{FF2B5EF4-FFF2-40B4-BE49-F238E27FC236}">
                <a16:creationId xmlns:a16="http://schemas.microsoft.com/office/drawing/2014/main" id="{5F7BD6E0-EC5F-40A0-B67E-D59CA832ED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</p:spPr>
        <p:txBody>
          <a:bodyPr/>
          <a:lstStyle/>
          <a:p>
            <a:r>
              <a:rPr lang="en-US" dirty="0"/>
              <a:t>Current offshore wind projects</a:t>
            </a:r>
            <a:br>
              <a:rPr lang="en-US" dirty="0"/>
            </a:br>
            <a:r>
              <a:rPr lang="en-US" b="0" dirty="0"/>
              <a:t>U.S. East Coast</a:t>
            </a:r>
            <a:endParaRPr lang="en-GB" dirty="0"/>
          </a:p>
        </p:txBody>
      </p:sp>
      <p:graphicFrame>
        <p:nvGraphicFramePr>
          <p:cNvPr id="1763" name="Table 31">
            <a:extLst>
              <a:ext uri="{FF2B5EF4-FFF2-40B4-BE49-F238E27FC236}">
                <a16:creationId xmlns:a16="http://schemas.microsoft.com/office/drawing/2014/main" id="{B86DF220-5AE8-4D6E-8120-8DFA2AA0A93E}"/>
              </a:ext>
            </a:extLst>
          </p:cNvPr>
          <p:cNvGraphicFramePr>
            <a:graphicFrameLocks/>
          </p:cNvGraphicFramePr>
          <p:nvPr/>
        </p:nvGraphicFramePr>
        <p:xfrm>
          <a:off x="4928131" y="714324"/>
          <a:ext cx="3482443" cy="3714852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662261">
                  <a:extLst>
                    <a:ext uri="{9D8B030D-6E8A-4147-A177-3AD203B41FA5}">
                      <a16:colId xmlns:a16="http://schemas.microsoft.com/office/drawing/2014/main" val="1932002568"/>
                    </a:ext>
                  </a:extLst>
                </a:gridCol>
                <a:gridCol w="1820182">
                  <a:extLst>
                    <a:ext uri="{9D8B030D-6E8A-4147-A177-3AD203B41FA5}">
                      <a16:colId xmlns:a16="http://schemas.microsoft.com/office/drawing/2014/main" val="3214899274"/>
                    </a:ext>
                  </a:extLst>
                </a:gridCol>
              </a:tblGrid>
              <a:tr h="211911">
                <a:tc>
                  <a:txBody>
                    <a:bodyPr/>
                    <a:lstStyle/>
                    <a:p>
                      <a:r>
                        <a:rPr lang="en-GB" sz="900">
                          <a:solidFill>
                            <a:schemeClr val="accent1"/>
                          </a:solidFill>
                        </a:rPr>
                        <a:t>Project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900">
                          <a:solidFill>
                            <a:schemeClr val="accent1"/>
                          </a:solidFill>
                        </a:rPr>
                        <a:t>Company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6192706"/>
                  </a:ext>
                </a:extLst>
              </a:tr>
              <a:tr h="209437"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Revolution Wind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Ørsted &amp; Eversourc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433256"/>
                  </a:ext>
                </a:extLst>
              </a:tr>
              <a:tr h="209437"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South Fork Wind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Ørsted &amp; Eversourc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847704"/>
                  </a:ext>
                </a:extLst>
              </a:tr>
              <a:tr h="209437"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Sunrise Wind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Ørsted &amp; Eversourc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6925347"/>
                  </a:ext>
                </a:extLst>
              </a:tr>
              <a:tr h="242507"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Vineyard Wind 1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Avangrid Renewables (Iberdrola), CIP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07809467"/>
                  </a:ext>
                </a:extLst>
              </a:tr>
              <a:tr h="209437"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Park City Wind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Avangrid Renewables (Iberdrola)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2062618"/>
                  </a:ext>
                </a:extLst>
              </a:tr>
              <a:tr h="218727"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Mayflower Wind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Shell, EDPR, ENGIE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2345399"/>
                  </a:ext>
                </a:extLst>
              </a:tr>
              <a:tr h="218727"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Empire Wind 1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BP, Equinor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6547921"/>
                  </a:ext>
                </a:extLst>
              </a:tr>
              <a:tr h="218727">
                <a:tc>
                  <a:txBody>
                    <a:bodyPr/>
                    <a:lstStyle/>
                    <a:p>
                      <a:pPr marL="0" marR="0" lvl="0" indent="0" algn="l" defTabSz="6858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Empire Wind 2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BP, Equinor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56949896"/>
                  </a:ext>
                </a:extLst>
              </a:tr>
              <a:tr h="218727"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Atlantic Shores Offshore Wind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Shell, EDFR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669887"/>
                  </a:ext>
                </a:extLst>
              </a:tr>
              <a:tr h="218727"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Ocean Wind 1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Ørsted &amp; PSEG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31032546"/>
                  </a:ext>
                </a:extLst>
              </a:tr>
              <a:tr h="218727"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Ocean Wind 2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Ørsted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6121963"/>
                  </a:ext>
                </a:extLst>
              </a:tr>
              <a:tr h="218727"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Skipjack Wind 1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Ørsted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612877"/>
                  </a:ext>
                </a:extLst>
              </a:tr>
              <a:tr h="218727"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Skipjack Wind 2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Ørsted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365532"/>
                  </a:ext>
                </a:extLst>
              </a:tr>
              <a:tr h="218727">
                <a:tc>
                  <a:txBody>
                    <a:bodyPr/>
                    <a:lstStyle/>
                    <a:p>
                      <a:r>
                        <a:rPr lang="en-GB" sz="600" err="1">
                          <a:solidFill>
                            <a:schemeClr val="tx2"/>
                          </a:solidFill>
                        </a:rPr>
                        <a:t>MarWin</a:t>
                      </a:r>
                      <a:endParaRPr lang="en-GB" sz="60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US Wind Inc.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53841410"/>
                  </a:ext>
                </a:extLst>
              </a:tr>
              <a:tr h="218727"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Coastal Virginia Offshore Wind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Dominion Energy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7125510"/>
                  </a:ext>
                </a:extLst>
              </a:tr>
              <a:tr h="218727"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Kitty Hawk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sz="600">
                          <a:solidFill>
                            <a:schemeClr val="tx2"/>
                          </a:solidFill>
                        </a:rPr>
                        <a:t>Avangrid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4568030"/>
                  </a:ext>
                </a:extLst>
              </a:tr>
            </a:tbl>
          </a:graphicData>
        </a:graphic>
      </p:graphicFrame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72D9B0D8-360C-420F-A686-82B051B6EFFD}"/>
              </a:ext>
            </a:extLst>
          </p:cNvPr>
          <p:cNvCxnSpPr/>
          <p:nvPr/>
        </p:nvCxnSpPr>
        <p:spPr>
          <a:xfrm>
            <a:off x="3516341" y="1828800"/>
            <a:ext cx="51760" cy="46368"/>
          </a:xfrm>
          <a:prstGeom prst="straightConnector1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40959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5BF90321-430B-4C10-BB5F-5A1962ABA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 the past decade, scale and continuous innovation have driven down the cost of offshore wind 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E1910F8-F438-494B-8624-7216372C0E7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88967606-C210-4DE8-96ED-6DC309089756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6564302" y="4790003"/>
            <a:ext cx="808498" cy="138606"/>
          </a:xfrm>
        </p:spPr>
        <p:txBody>
          <a:bodyPr/>
          <a:lstStyle/>
          <a:p>
            <a:pPr>
              <a:lnSpc>
                <a:spcPct val="95000"/>
              </a:lnSpc>
            </a:pPr>
            <a:r>
              <a:rPr lang="en-GB" dirty="0"/>
              <a:t>October 19, 2021</a:t>
            </a:r>
          </a:p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Content Placeholder 130">
            <a:extLst>
              <a:ext uri="{FF2B5EF4-FFF2-40B4-BE49-F238E27FC236}">
                <a16:creationId xmlns:a16="http://schemas.microsoft.com/office/drawing/2014/main" id="{86FB9367-165A-4C3E-9A7C-072F01499F2A}"/>
              </a:ext>
            </a:extLst>
          </p:cNvPr>
          <p:cNvSpPr txBox="1">
            <a:spLocks/>
          </p:cNvSpPr>
          <p:nvPr/>
        </p:nvSpPr>
        <p:spPr>
          <a:xfrm>
            <a:off x="432000" y="1117550"/>
            <a:ext cx="3700463" cy="1858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b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GB" sz="1000" kern="1200" noProof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GB" sz="1000" kern="1200" baseline="0" noProof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b="1" dirty="0"/>
              <a:t>Key cost reduction levers</a:t>
            </a:r>
          </a:p>
          <a:p>
            <a:pPr marL="171450" indent="-171450"/>
            <a:r>
              <a:rPr lang="en-GB" dirty="0"/>
              <a:t>Larger sites </a:t>
            </a:r>
          </a:p>
          <a:p>
            <a:pPr marL="171450" indent="-171450"/>
            <a:r>
              <a:rPr lang="en-GB" dirty="0"/>
              <a:t>Larger turbines</a:t>
            </a:r>
          </a:p>
          <a:p>
            <a:pPr marL="171450" indent="-171450"/>
            <a:r>
              <a:rPr lang="en-GB" dirty="0"/>
              <a:t>Cost reduction across all components</a:t>
            </a:r>
          </a:p>
          <a:p>
            <a:pPr marL="171450" indent="-171450"/>
            <a:r>
              <a:rPr lang="en-GB" dirty="0"/>
              <a:t>Shorter installation cycles</a:t>
            </a:r>
          </a:p>
          <a:p>
            <a:pPr marL="171450" indent="-171450"/>
            <a:r>
              <a:rPr lang="en-GB" dirty="0"/>
              <a:t>Lower operations and maintenance costs</a:t>
            </a:r>
          </a:p>
          <a:p>
            <a:pPr marL="171450" indent="-171450"/>
            <a:r>
              <a:rPr lang="en-GB" dirty="0"/>
              <a:t>More competitive supply chain</a:t>
            </a:r>
          </a:p>
        </p:txBody>
      </p:sp>
    </p:spTree>
    <p:extLst>
      <p:ext uri="{BB962C8B-B14F-4D97-AF65-F5344CB8AC3E}">
        <p14:creationId xmlns:p14="http://schemas.microsoft.com/office/powerpoint/2010/main" val="10084226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B3E2A99-368A-4C6F-91BD-9326CE2DF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olution of project area and proposed layouts</a:t>
            </a:r>
            <a:endParaRPr lang="en-GB" b="0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3D626FA2-2610-4FFF-A29D-A7F13810F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029600"/>
            <a:ext cx="2184032" cy="3420000"/>
          </a:xfrm>
        </p:spPr>
        <p:txBody>
          <a:bodyPr/>
          <a:lstStyle/>
          <a:p>
            <a:r>
              <a:rPr lang="en-US" dirty="0"/>
              <a:t>Ocean Wind example</a:t>
            </a:r>
          </a:p>
          <a:p>
            <a:pPr lvl="1"/>
            <a:r>
              <a:rPr lang="en-US" dirty="0"/>
              <a:t>Self imposed setback (visual)</a:t>
            </a:r>
          </a:p>
          <a:p>
            <a:pPr lvl="1"/>
            <a:r>
              <a:rPr lang="en-US" dirty="0"/>
              <a:t>Shift to grid layout rather than wind-optimized design (navigation)</a:t>
            </a:r>
          </a:p>
          <a:p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48EB20B-D08C-482D-8EA7-A948B1695B6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00B021F0-7883-4F52-8F83-15206EF4808E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6418967" y="4741558"/>
            <a:ext cx="953833" cy="187051"/>
          </a:xfrm>
        </p:spPr>
        <p:txBody>
          <a:bodyPr/>
          <a:lstStyle/>
          <a:p>
            <a:r>
              <a:rPr lang="en-GB" dirty="0"/>
              <a:t>October 19, 202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A374201-C5A4-47C0-A63D-0C2B3896C8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9461" y="898077"/>
            <a:ext cx="5752539" cy="3624099"/>
          </a:xfrm>
          <a:prstGeom prst="rect">
            <a:avLst/>
          </a:prstGeom>
          <a:noFill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239615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AA2E51-E783-4698-8BE8-97EE2E13CE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PA alternatives (cont.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6CE6B6-DFD7-4604-B272-DD3BDC8BB8E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8D116D-4FAC-46C3-BD1E-0F3F5EE8E544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6406856" y="4771836"/>
            <a:ext cx="965944" cy="156773"/>
          </a:xfrm>
        </p:spPr>
        <p:txBody>
          <a:bodyPr/>
          <a:lstStyle/>
          <a:p>
            <a:pPr>
              <a:lnSpc>
                <a:spcPct val="95000"/>
              </a:lnSpc>
            </a:pPr>
            <a:r>
              <a:rPr lang="en-GB" dirty="0"/>
              <a:t>October 19, 2021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66F96B33-DF87-4488-88A9-BCC7BAC70157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6679" y="828000"/>
            <a:ext cx="5150641" cy="3823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01274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2B49D8-9617-4627-9074-B742CA18D3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w York Bigh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6DB2D7-22A5-442C-AE48-188CE4C5C45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8C89C5-CD23-45E6-BB79-1D65875303CB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6503746" y="4771836"/>
            <a:ext cx="869054" cy="156773"/>
          </a:xfrm>
        </p:spPr>
        <p:txBody>
          <a:bodyPr/>
          <a:lstStyle/>
          <a:p>
            <a:pPr>
              <a:lnSpc>
                <a:spcPct val="95000"/>
              </a:lnSpc>
            </a:pPr>
            <a:r>
              <a:rPr lang="en-GB" dirty="0"/>
              <a:t>October 19, 2021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0787121-5E72-4955-9B67-908C17978A3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280159" y="877602"/>
            <a:ext cx="4929282" cy="3761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2962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2167D8C-FDEA-4BDE-823D-F2D756B92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37A768D-B6BA-4F65-AFB8-0056D5EBD3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Bryan Stockton</a:t>
            </a:r>
          </a:p>
          <a:p>
            <a:r>
              <a:rPr lang="en-GB" b="0" dirty="0"/>
              <a:t>Head of Regulatory Affairs</a:t>
            </a:r>
          </a:p>
          <a:p>
            <a:r>
              <a:rPr lang="en-GB" b="0" dirty="0"/>
              <a:t>BRSTO@orsted.com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5BF2DD0-34D5-4232-BD77-57B5FC06C7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r>
              <a:rPr lang="en-GB" dirty="0"/>
              <a:t>October 19, 2021</a:t>
            </a:r>
          </a:p>
        </p:txBody>
      </p:sp>
    </p:spTree>
    <p:extLst>
      <p:ext uri="{BB962C8B-B14F-4D97-AF65-F5344CB8AC3E}">
        <p14:creationId xmlns:p14="http://schemas.microsoft.com/office/powerpoint/2010/main" val="37428208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1/4 [1]&quot; Source=&quot;Harvey 4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2/4 [2]&quot; Source=&quot;Harvey 4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3/4 [3]&quot; Source=&quot;Harvey 4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/4 [4]&quot; Source=&quot;Harvey 4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0/8 [0]&quot; Source=&quot;Harvey 8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1/8 [1]&quot; Source=&quot;Harvey 8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2/8 [2]&quot; Source=&quot;Harvey 8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3/8 [3]&quot; Source=&quot;Harvey 8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4/8 [4]&quot; Source=&quot;Harvey 8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5/8 [5]&quot; Source=&quot;Harvey 8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&quot; Source=&quot;Harvey 8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6/8 [6]&quot; Source=&quot;Harvey 8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7/8 [7]&quot; Source=&quot;Harvey 8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/8 [8]&quot; Source=&quot;Harvey 8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57176472894677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57176472894677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&quot; Source=&quot;Harvey 4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&quot; Source=&quot;Harvey 3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0/3 [0]&quot; Source=&quot;Harvey 3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1/3 [1]&quot; Source=&quot;Harvey 3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2/3 [2]&quot; Source=&quot;Harvey 3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/3 [3]&quot; Source=&quot;Harvey 3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0/4 [0]&quot; Source=&quot;Harvey 4&quot; /&gt;"/>
</p:tagLst>
</file>

<file path=ppt/theme/theme1.xml><?xml version="1.0" encoding="utf-8"?>
<a:theme xmlns:a="http://schemas.openxmlformats.org/drawingml/2006/main" name="Orsted">
  <a:themeElements>
    <a:clrScheme name="Orsted 2021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 Sans 2021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Blank.potx" id="{2F3A28D2-D36F-42E7-83C7-35C3B4833B1B}" vid="{A63FB317-154D-41BF-B853-22B53A6618EE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0</TotalTime>
  <Words>473</Words>
  <Application>Microsoft Office PowerPoint</Application>
  <PresentationFormat>On-screen Show (16:9)</PresentationFormat>
  <Paragraphs>112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Orsted Sans Office</vt:lpstr>
      <vt:lpstr>Arial</vt:lpstr>
      <vt:lpstr>Orsted Sans</vt:lpstr>
      <vt:lpstr>Orsted</vt:lpstr>
      <vt:lpstr>think-cell Slide</vt:lpstr>
      <vt:lpstr>The Past, Present, and Future of Offshore Wind</vt:lpstr>
      <vt:lpstr>Ørsted Offshore North America portfolio Awarded over 4,000 MW of offshore capacity on the East coast</vt:lpstr>
      <vt:lpstr>Current offshore wind projects U.S. East Coast</vt:lpstr>
      <vt:lpstr>Over the past decade, scale and continuous innovation have driven down the cost of offshore wind </vt:lpstr>
      <vt:lpstr>Evolution of project area and proposed layouts</vt:lpstr>
      <vt:lpstr>NEPA alternatives (cont.)</vt:lpstr>
      <vt:lpstr>New York Bight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Past, Present, and Future of Offshore Wind</dc:title>
  <dc:creator>Brandyn Greeno</dc:creator>
  <cp:keywords/>
  <cp:lastModifiedBy>Bryan Stockton</cp:lastModifiedBy>
  <cp:revision>5</cp:revision>
  <dcterms:created xsi:type="dcterms:W3CDTF">2021-09-24T12:34:31Z</dcterms:created>
  <dcterms:modified xsi:type="dcterms:W3CDTF">2021-10-19T13:49:5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2cfb277-e402-4e8d-a57e-f9bc28430740_Enabled">
    <vt:lpwstr>true</vt:lpwstr>
  </property>
  <property fmtid="{D5CDD505-2E9C-101B-9397-08002B2CF9AE}" pid="3" name="MSIP_Label_62cfb277-e402-4e8d-a57e-f9bc28430740_SetDate">
    <vt:lpwstr>2021-09-24T12:49:00Z</vt:lpwstr>
  </property>
  <property fmtid="{D5CDD505-2E9C-101B-9397-08002B2CF9AE}" pid="4" name="MSIP_Label_62cfb277-e402-4e8d-a57e-f9bc28430740_Method">
    <vt:lpwstr>Privileged</vt:lpwstr>
  </property>
  <property fmtid="{D5CDD505-2E9C-101B-9397-08002B2CF9AE}" pid="5" name="MSIP_Label_62cfb277-e402-4e8d-a57e-f9bc28430740_Name">
    <vt:lpwstr>Public</vt:lpwstr>
  </property>
  <property fmtid="{D5CDD505-2E9C-101B-9397-08002B2CF9AE}" pid="6" name="MSIP_Label_62cfb277-e402-4e8d-a57e-f9bc28430740_SiteId">
    <vt:lpwstr>100b3c99-f3e2-4da0-9c8a-b9d345742c36</vt:lpwstr>
  </property>
  <property fmtid="{D5CDD505-2E9C-101B-9397-08002B2CF9AE}" pid="7" name="MSIP_Label_62cfb277-e402-4e8d-a57e-f9bc28430740_ActionId">
    <vt:lpwstr>25811e31-61c4-4256-bb92-d82ee270fe70</vt:lpwstr>
  </property>
  <property fmtid="{D5CDD505-2E9C-101B-9397-08002B2CF9AE}" pid="8" name="MSIP_Label_62cfb277-e402-4e8d-a57e-f9bc28430740_ContentBits">
    <vt:lpwstr>0</vt:lpwstr>
  </property>
</Properties>
</file>